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>
  <p:sldMasterIdLst>
    <p:sldMasterId id="2147483648" r:id="rId1"/>
  </p:sldMasterIdLst>
  <p:notesMasterIdLst>
    <p:notesMasterId r:id="rId33"/>
  </p:notesMasterIdLst>
  <p:handoutMasterIdLst>
    <p:handoutMasterId r:id="rId34"/>
  </p:handoutMasterIdLst>
  <p:sldIdLst>
    <p:sldId id="333" r:id="rId2"/>
    <p:sldId id="334" r:id="rId3"/>
    <p:sldId id="262" r:id="rId4"/>
    <p:sldId id="298" r:id="rId5"/>
    <p:sldId id="308" r:id="rId6"/>
    <p:sldId id="335" r:id="rId7"/>
    <p:sldId id="336" r:id="rId8"/>
    <p:sldId id="331" r:id="rId9"/>
    <p:sldId id="332" r:id="rId10"/>
    <p:sldId id="337" r:id="rId11"/>
    <p:sldId id="304" r:id="rId12"/>
    <p:sldId id="305" r:id="rId13"/>
    <p:sldId id="302" r:id="rId14"/>
    <p:sldId id="306" r:id="rId15"/>
    <p:sldId id="307" r:id="rId16"/>
    <p:sldId id="309" r:id="rId17"/>
    <p:sldId id="310" r:id="rId18"/>
    <p:sldId id="311" r:id="rId19"/>
    <p:sldId id="312" r:id="rId20"/>
    <p:sldId id="313" r:id="rId21"/>
    <p:sldId id="315" r:id="rId22"/>
    <p:sldId id="319" r:id="rId23"/>
    <p:sldId id="320" r:id="rId24"/>
    <p:sldId id="321" r:id="rId25"/>
    <p:sldId id="322" r:id="rId26"/>
    <p:sldId id="323" r:id="rId27"/>
    <p:sldId id="324" r:id="rId28"/>
    <p:sldId id="325" r:id="rId29"/>
    <p:sldId id="326" r:id="rId30"/>
    <p:sldId id="327" r:id="rId31"/>
    <p:sldId id="290" r:id="rId32"/>
  </p:sldIdLst>
  <p:sldSz cx="12192000" cy="6858000"/>
  <p:notesSz cx="6858000" cy="9144000"/>
  <p:embeddedFontLst>
    <p:embeddedFont>
      <p:font typeface="Karbon" panose="02000000000000000000" pitchFamily="2" charset="0"/>
      <p:regular r:id="rId35"/>
      <p:bold r:id="rId36"/>
      <p:italic r:id="rId37"/>
      <p:boldItalic r:id="rId38"/>
    </p:embeddedFont>
    <p:embeddedFont>
      <p:font typeface="Karbon Light" panose="02000000000000000000" pitchFamily="2" charset="0"/>
      <p:regular r:id="rId39"/>
      <p:italic r:id="rId40"/>
    </p:embeddedFont>
    <p:embeddedFont>
      <p:font typeface="Karbon Medium" pitchFamily="2" charset="0"/>
      <p:regular r:id="rId41"/>
      <p:bold r:id="rId42"/>
      <p:italic r:id="rId43"/>
      <p:boldItalic r:id="rId44"/>
    </p:embeddedFont>
  </p:embeddedFontLst>
  <p:custDataLst>
    <p:tags r:id="rId4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 userDrawn="1">
          <p15:clr>
            <a:srgbClr val="F26B43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2568D48-A135-4DE2-9F5B-6424BA83644F}" v="13" dt="2021-10-04T09:50:35.07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4" autoAdjust="0"/>
    <p:restoredTop sz="94675" autoAdjust="0"/>
  </p:normalViewPr>
  <p:slideViewPr>
    <p:cSldViewPr snapToGrid="0" showGuides="1">
      <p:cViewPr varScale="1">
        <p:scale>
          <a:sx n="50" d="100"/>
          <a:sy n="50" d="100"/>
        </p:scale>
        <p:origin x="66" y="636"/>
      </p:cViewPr>
      <p:guideLst>
        <p:guide orient="horz" pos="731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howGuides="1">
      <p:cViewPr varScale="1">
        <p:scale>
          <a:sx n="96" d="100"/>
          <a:sy n="96" d="100"/>
        </p:scale>
        <p:origin x="355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5.fntdata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42" Type="http://schemas.openxmlformats.org/officeDocument/2006/relationships/font" Target="fonts/font8.fntdata"/><Relationship Id="rId47" Type="http://schemas.openxmlformats.org/officeDocument/2006/relationships/viewProps" Target="viewProps.xml"/><Relationship Id="rId50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font" Target="fonts/font3.fntdata"/><Relationship Id="rId40" Type="http://schemas.openxmlformats.org/officeDocument/2006/relationships/font" Target="fonts/font6.fntdata"/><Relationship Id="rId45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2.fntdata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10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font" Target="fonts/font1.fntdata"/><Relationship Id="rId43" Type="http://schemas.openxmlformats.org/officeDocument/2006/relationships/font" Target="fonts/font9.fntdata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font" Target="fonts/font4.fntdata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 dirty="0">
              <a:latin typeface="Karbon Medium" pitchFamily="2" charset="0"/>
            </a:endParaRPr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0EBD5D-2268-4227-8581-7AF8E18415A2}" type="datetimeFigureOut">
              <a:rPr lang="da-DK" smtClean="0">
                <a:latin typeface="Karbon Medium" pitchFamily="2" charset="0"/>
              </a:rPr>
              <a:t>04-10-2021</a:t>
            </a:fld>
            <a:endParaRPr lang="da-DK" dirty="0">
              <a:latin typeface="Karbon Medium" pitchFamily="2" charset="0"/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dirty="0">
              <a:latin typeface="Karbon Medium" pitchFamily="2" charset="0"/>
            </a:endParaRP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397D2F-9676-4A89-BDEB-EC9ACB8A87B2}" type="slidenum">
              <a:rPr lang="da-DK" smtClean="0">
                <a:latin typeface="Karbon Medium" pitchFamily="2" charset="0"/>
              </a:rPr>
              <a:t>‹#›</a:t>
            </a:fld>
            <a:endParaRPr lang="da-DK" dirty="0">
              <a:latin typeface="Karbon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71008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Karbon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Karbon Medium" pitchFamily="2" charset="0"/>
              </a:defRPr>
            </a:lvl1pPr>
          </a:lstStyle>
          <a:p>
            <a:fld id="{CD72A38B-F9FA-4036-A084-652409E98F08}" type="datetimeFigureOut">
              <a:rPr lang="en-GB" smtClean="0"/>
              <a:pPr/>
              <a:t>04/10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7387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Karbon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Karbon Medium" pitchFamily="2" charset="0"/>
              </a:defRPr>
            </a:lvl1pPr>
          </a:lstStyle>
          <a:p>
            <a:fld id="{49436F85-577F-4A92-A47F-D540A2BCC82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8091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Karbon Medium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Karbon Medium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Karbon Medium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Karbon Medium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Karbon Medium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7388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21665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7388"/>
            <a:ext cx="6096000" cy="3429000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95647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3.png"/><Relationship Id="rId5" Type="http://schemas.openxmlformats.org/officeDocument/2006/relationships/hyperlink" Target="https://3shapedental.sharepoint.com/Pages/About%20Us/Our%20company/CVI.aspx" TargetMode="External"/><Relationship Id="rId4" Type="http://schemas.openxmlformats.org/officeDocument/2006/relationships/image" Target="../media/image12.emf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17A03ED-BC66-4ED4-B4DC-79B17BB6BD0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63" y="603580"/>
            <a:ext cx="11521279" cy="4620883"/>
          </a:xfrm>
          <a:custGeom>
            <a:avLst/>
            <a:gdLst>
              <a:gd name="connsiteX0" fmla="*/ 9135095 w 11521279"/>
              <a:gd name="connsiteY0" fmla="*/ 0 h 4618547"/>
              <a:gd name="connsiteX1" fmla="*/ 9178217 w 11521279"/>
              <a:gd name="connsiteY1" fmla="*/ 4196 h 4618547"/>
              <a:gd name="connsiteX2" fmla="*/ 9170644 w 11521279"/>
              <a:gd name="connsiteY2" fmla="*/ 4866 h 4618547"/>
              <a:gd name="connsiteX3" fmla="*/ 11521279 w 11521279"/>
              <a:gd name="connsiteY3" fmla="*/ 260596 h 4618547"/>
              <a:gd name="connsiteX4" fmla="*/ 11521279 w 11521279"/>
              <a:gd name="connsiteY4" fmla="*/ 4330888 h 4618547"/>
              <a:gd name="connsiteX5" fmla="*/ 11520487 w 11521279"/>
              <a:gd name="connsiteY5" fmla="*/ 4330888 h 4618547"/>
              <a:gd name="connsiteX6" fmla="*/ 11520487 w 11521279"/>
              <a:gd name="connsiteY6" fmla="*/ 4331210 h 4618547"/>
              <a:gd name="connsiteX7" fmla="*/ 11520487 w 11521279"/>
              <a:gd name="connsiteY7" fmla="*/ 4617792 h 4618547"/>
              <a:gd name="connsiteX8" fmla="*/ 11520487 w 11521279"/>
              <a:gd name="connsiteY8" fmla="*/ 4618547 h 4618547"/>
              <a:gd name="connsiteX9" fmla="*/ 0 w 11521279"/>
              <a:gd name="connsiteY9" fmla="*/ 4618547 h 4618547"/>
              <a:gd name="connsiteX10" fmla="*/ 0 w 11521279"/>
              <a:gd name="connsiteY10" fmla="*/ 3664527 h 4618547"/>
              <a:gd name="connsiteX11" fmla="*/ 794 w 11521279"/>
              <a:gd name="connsiteY11" fmla="*/ 3664527 h 4618547"/>
              <a:gd name="connsiteX12" fmla="*/ 794 w 11521279"/>
              <a:gd name="connsiteY12" fmla="*/ 897445 h 4618547"/>
              <a:gd name="connsiteX0" fmla="*/ 9135095 w 11521279"/>
              <a:gd name="connsiteY0" fmla="*/ 0 h 4618547"/>
              <a:gd name="connsiteX1" fmla="*/ 9178217 w 11521279"/>
              <a:gd name="connsiteY1" fmla="*/ 4196 h 4618547"/>
              <a:gd name="connsiteX2" fmla="*/ 9170644 w 11521279"/>
              <a:gd name="connsiteY2" fmla="*/ 4866 h 4618547"/>
              <a:gd name="connsiteX3" fmla="*/ 11521279 w 11521279"/>
              <a:gd name="connsiteY3" fmla="*/ 260596 h 4618547"/>
              <a:gd name="connsiteX4" fmla="*/ 11521279 w 11521279"/>
              <a:gd name="connsiteY4" fmla="*/ 4330888 h 4618547"/>
              <a:gd name="connsiteX5" fmla="*/ 11520487 w 11521279"/>
              <a:gd name="connsiteY5" fmla="*/ 4330888 h 4618547"/>
              <a:gd name="connsiteX6" fmla="*/ 11520487 w 11521279"/>
              <a:gd name="connsiteY6" fmla="*/ 4331210 h 4618547"/>
              <a:gd name="connsiteX7" fmla="*/ 11520487 w 11521279"/>
              <a:gd name="connsiteY7" fmla="*/ 4617792 h 4618547"/>
              <a:gd name="connsiteX8" fmla="*/ 11520487 w 11521279"/>
              <a:gd name="connsiteY8" fmla="*/ 4618547 h 4618547"/>
              <a:gd name="connsiteX9" fmla="*/ 0 w 11521279"/>
              <a:gd name="connsiteY9" fmla="*/ 4618547 h 4618547"/>
              <a:gd name="connsiteX10" fmla="*/ 0 w 11521279"/>
              <a:gd name="connsiteY10" fmla="*/ 3664527 h 4618547"/>
              <a:gd name="connsiteX11" fmla="*/ 794 w 11521279"/>
              <a:gd name="connsiteY11" fmla="*/ 3664527 h 4618547"/>
              <a:gd name="connsiteX12" fmla="*/ 794 w 11521279"/>
              <a:gd name="connsiteY12" fmla="*/ 887647 h 4618547"/>
              <a:gd name="connsiteX13" fmla="*/ 9135095 w 11521279"/>
              <a:gd name="connsiteY13" fmla="*/ 0 h 4618547"/>
              <a:gd name="connsiteX0" fmla="*/ 9135095 w 11521279"/>
              <a:gd name="connsiteY0" fmla="*/ 4931 h 4623478"/>
              <a:gd name="connsiteX1" fmla="*/ 9178217 w 11521279"/>
              <a:gd name="connsiteY1" fmla="*/ 9127 h 4623478"/>
              <a:gd name="connsiteX2" fmla="*/ 9170644 w 11521279"/>
              <a:gd name="connsiteY2" fmla="*/ 0 h 4623478"/>
              <a:gd name="connsiteX3" fmla="*/ 11521279 w 11521279"/>
              <a:gd name="connsiteY3" fmla="*/ 265527 h 4623478"/>
              <a:gd name="connsiteX4" fmla="*/ 11521279 w 11521279"/>
              <a:gd name="connsiteY4" fmla="*/ 4335819 h 4623478"/>
              <a:gd name="connsiteX5" fmla="*/ 11520487 w 11521279"/>
              <a:gd name="connsiteY5" fmla="*/ 4335819 h 4623478"/>
              <a:gd name="connsiteX6" fmla="*/ 11520487 w 11521279"/>
              <a:gd name="connsiteY6" fmla="*/ 4336141 h 4623478"/>
              <a:gd name="connsiteX7" fmla="*/ 11520487 w 11521279"/>
              <a:gd name="connsiteY7" fmla="*/ 4622723 h 4623478"/>
              <a:gd name="connsiteX8" fmla="*/ 11520487 w 11521279"/>
              <a:gd name="connsiteY8" fmla="*/ 4623478 h 4623478"/>
              <a:gd name="connsiteX9" fmla="*/ 0 w 11521279"/>
              <a:gd name="connsiteY9" fmla="*/ 4623478 h 4623478"/>
              <a:gd name="connsiteX10" fmla="*/ 0 w 11521279"/>
              <a:gd name="connsiteY10" fmla="*/ 3669458 h 4623478"/>
              <a:gd name="connsiteX11" fmla="*/ 794 w 11521279"/>
              <a:gd name="connsiteY11" fmla="*/ 3669458 h 4623478"/>
              <a:gd name="connsiteX12" fmla="*/ 794 w 11521279"/>
              <a:gd name="connsiteY12" fmla="*/ 892578 h 4623478"/>
              <a:gd name="connsiteX13" fmla="*/ 9135095 w 11521279"/>
              <a:gd name="connsiteY13" fmla="*/ 4931 h 4623478"/>
              <a:gd name="connsiteX0" fmla="*/ 794 w 11521279"/>
              <a:gd name="connsiteY0" fmla="*/ 892578 h 4623478"/>
              <a:gd name="connsiteX1" fmla="*/ 9178217 w 11521279"/>
              <a:gd name="connsiteY1" fmla="*/ 9127 h 4623478"/>
              <a:gd name="connsiteX2" fmla="*/ 9170644 w 11521279"/>
              <a:gd name="connsiteY2" fmla="*/ 0 h 4623478"/>
              <a:gd name="connsiteX3" fmla="*/ 11521279 w 11521279"/>
              <a:gd name="connsiteY3" fmla="*/ 265527 h 4623478"/>
              <a:gd name="connsiteX4" fmla="*/ 11521279 w 11521279"/>
              <a:gd name="connsiteY4" fmla="*/ 4335819 h 4623478"/>
              <a:gd name="connsiteX5" fmla="*/ 11520487 w 11521279"/>
              <a:gd name="connsiteY5" fmla="*/ 4335819 h 4623478"/>
              <a:gd name="connsiteX6" fmla="*/ 11520487 w 11521279"/>
              <a:gd name="connsiteY6" fmla="*/ 4336141 h 4623478"/>
              <a:gd name="connsiteX7" fmla="*/ 11520487 w 11521279"/>
              <a:gd name="connsiteY7" fmla="*/ 4622723 h 4623478"/>
              <a:gd name="connsiteX8" fmla="*/ 11520487 w 11521279"/>
              <a:gd name="connsiteY8" fmla="*/ 4623478 h 4623478"/>
              <a:gd name="connsiteX9" fmla="*/ 0 w 11521279"/>
              <a:gd name="connsiteY9" fmla="*/ 4623478 h 4623478"/>
              <a:gd name="connsiteX10" fmla="*/ 0 w 11521279"/>
              <a:gd name="connsiteY10" fmla="*/ 3669458 h 4623478"/>
              <a:gd name="connsiteX11" fmla="*/ 794 w 11521279"/>
              <a:gd name="connsiteY11" fmla="*/ 3669458 h 4623478"/>
              <a:gd name="connsiteX12" fmla="*/ 794 w 11521279"/>
              <a:gd name="connsiteY12" fmla="*/ 892578 h 4623478"/>
              <a:gd name="connsiteX0" fmla="*/ 794 w 11521279"/>
              <a:gd name="connsiteY0" fmla="*/ 883451 h 4614351"/>
              <a:gd name="connsiteX1" fmla="*/ 9178217 w 11521279"/>
              <a:gd name="connsiteY1" fmla="*/ 0 h 4614351"/>
              <a:gd name="connsiteX2" fmla="*/ 9262084 w 11521279"/>
              <a:gd name="connsiteY2" fmla="*/ 52921 h 4614351"/>
              <a:gd name="connsiteX3" fmla="*/ 11521279 w 11521279"/>
              <a:gd name="connsiteY3" fmla="*/ 256400 h 4614351"/>
              <a:gd name="connsiteX4" fmla="*/ 11521279 w 11521279"/>
              <a:gd name="connsiteY4" fmla="*/ 4326692 h 4614351"/>
              <a:gd name="connsiteX5" fmla="*/ 11520487 w 11521279"/>
              <a:gd name="connsiteY5" fmla="*/ 4326692 h 4614351"/>
              <a:gd name="connsiteX6" fmla="*/ 11520487 w 11521279"/>
              <a:gd name="connsiteY6" fmla="*/ 4327014 h 4614351"/>
              <a:gd name="connsiteX7" fmla="*/ 11520487 w 11521279"/>
              <a:gd name="connsiteY7" fmla="*/ 4613596 h 4614351"/>
              <a:gd name="connsiteX8" fmla="*/ 11520487 w 11521279"/>
              <a:gd name="connsiteY8" fmla="*/ 4614351 h 4614351"/>
              <a:gd name="connsiteX9" fmla="*/ 0 w 11521279"/>
              <a:gd name="connsiteY9" fmla="*/ 4614351 h 4614351"/>
              <a:gd name="connsiteX10" fmla="*/ 0 w 11521279"/>
              <a:gd name="connsiteY10" fmla="*/ 3660331 h 4614351"/>
              <a:gd name="connsiteX11" fmla="*/ 794 w 11521279"/>
              <a:gd name="connsiteY11" fmla="*/ 3660331 h 4614351"/>
              <a:gd name="connsiteX12" fmla="*/ 794 w 11521279"/>
              <a:gd name="connsiteY12" fmla="*/ 883451 h 4614351"/>
              <a:gd name="connsiteX0" fmla="*/ 794 w 11521279"/>
              <a:gd name="connsiteY0" fmla="*/ 889983 h 4620883"/>
              <a:gd name="connsiteX1" fmla="*/ 9194546 w 11521279"/>
              <a:gd name="connsiteY1" fmla="*/ 0 h 4620883"/>
              <a:gd name="connsiteX2" fmla="*/ 9262084 w 11521279"/>
              <a:gd name="connsiteY2" fmla="*/ 59453 h 4620883"/>
              <a:gd name="connsiteX3" fmla="*/ 11521279 w 11521279"/>
              <a:gd name="connsiteY3" fmla="*/ 262932 h 4620883"/>
              <a:gd name="connsiteX4" fmla="*/ 11521279 w 11521279"/>
              <a:gd name="connsiteY4" fmla="*/ 4333224 h 4620883"/>
              <a:gd name="connsiteX5" fmla="*/ 11520487 w 11521279"/>
              <a:gd name="connsiteY5" fmla="*/ 4333224 h 4620883"/>
              <a:gd name="connsiteX6" fmla="*/ 11520487 w 11521279"/>
              <a:gd name="connsiteY6" fmla="*/ 4333546 h 4620883"/>
              <a:gd name="connsiteX7" fmla="*/ 11520487 w 11521279"/>
              <a:gd name="connsiteY7" fmla="*/ 4620128 h 4620883"/>
              <a:gd name="connsiteX8" fmla="*/ 11520487 w 11521279"/>
              <a:gd name="connsiteY8" fmla="*/ 4620883 h 4620883"/>
              <a:gd name="connsiteX9" fmla="*/ 0 w 11521279"/>
              <a:gd name="connsiteY9" fmla="*/ 4620883 h 4620883"/>
              <a:gd name="connsiteX10" fmla="*/ 0 w 11521279"/>
              <a:gd name="connsiteY10" fmla="*/ 3666863 h 4620883"/>
              <a:gd name="connsiteX11" fmla="*/ 794 w 11521279"/>
              <a:gd name="connsiteY11" fmla="*/ 3666863 h 4620883"/>
              <a:gd name="connsiteX12" fmla="*/ 794 w 11521279"/>
              <a:gd name="connsiteY12" fmla="*/ 889983 h 4620883"/>
              <a:gd name="connsiteX0" fmla="*/ 794 w 11521279"/>
              <a:gd name="connsiteY0" fmla="*/ 889983 h 4620883"/>
              <a:gd name="connsiteX1" fmla="*/ 9194546 w 11521279"/>
              <a:gd name="connsiteY1" fmla="*/ 0 h 4620883"/>
              <a:gd name="connsiteX2" fmla="*/ 11521279 w 11521279"/>
              <a:gd name="connsiteY2" fmla="*/ 262932 h 4620883"/>
              <a:gd name="connsiteX3" fmla="*/ 11521279 w 11521279"/>
              <a:gd name="connsiteY3" fmla="*/ 4333224 h 4620883"/>
              <a:gd name="connsiteX4" fmla="*/ 11520487 w 11521279"/>
              <a:gd name="connsiteY4" fmla="*/ 4333224 h 4620883"/>
              <a:gd name="connsiteX5" fmla="*/ 11520487 w 11521279"/>
              <a:gd name="connsiteY5" fmla="*/ 4333546 h 4620883"/>
              <a:gd name="connsiteX6" fmla="*/ 11520487 w 11521279"/>
              <a:gd name="connsiteY6" fmla="*/ 4620128 h 4620883"/>
              <a:gd name="connsiteX7" fmla="*/ 11520487 w 11521279"/>
              <a:gd name="connsiteY7" fmla="*/ 4620883 h 4620883"/>
              <a:gd name="connsiteX8" fmla="*/ 0 w 11521279"/>
              <a:gd name="connsiteY8" fmla="*/ 4620883 h 4620883"/>
              <a:gd name="connsiteX9" fmla="*/ 0 w 11521279"/>
              <a:gd name="connsiteY9" fmla="*/ 3666863 h 4620883"/>
              <a:gd name="connsiteX10" fmla="*/ 794 w 11521279"/>
              <a:gd name="connsiteY10" fmla="*/ 3666863 h 4620883"/>
              <a:gd name="connsiteX11" fmla="*/ 794 w 11521279"/>
              <a:gd name="connsiteY11" fmla="*/ 889983 h 4620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521279" h="4620883">
                <a:moveTo>
                  <a:pt x="794" y="889983"/>
                </a:moveTo>
                <a:lnTo>
                  <a:pt x="9194546" y="0"/>
                </a:lnTo>
                <a:lnTo>
                  <a:pt x="11521279" y="262932"/>
                </a:lnTo>
                <a:lnTo>
                  <a:pt x="11521279" y="4333224"/>
                </a:lnTo>
                <a:lnTo>
                  <a:pt x="11520487" y="4333224"/>
                </a:lnTo>
                <a:lnTo>
                  <a:pt x="11520487" y="4333546"/>
                </a:lnTo>
                <a:lnTo>
                  <a:pt x="11520487" y="4620128"/>
                </a:lnTo>
                <a:lnTo>
                  <a:pt x="11520487" y="4620883"/>
                </a:lnTo>
                <a:lnTo>
                  <a:pt x="0" y="4620883"/>
                </a:lnTo>
                <a:lnTo>
                  <a:pt x="0" y="3666863"/>
                </a:lnTo>
                <a:lnTo>
                  <a:pt x="794" y="3666863"/>
                </a:lnTo>
                <a:lnTo>
                  <a:pt x="794" y="8899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612000" bIns="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on icon and insert image</a:t>
            </a:r>
          </a:p>
        </p:txBody>
      </p:sp>
      <p:sp>
        <p:nvSpPr>
          <p:cNvPr id="9" name="Pladsholder til tekst 1"/>
          <p:cNvSpPr>
            <a:spLocks noGrp="1"/>
          </p:cNvSpPr>
          <p:nvPr>
            <p:ph type="body" sz="quarter" idx="13" hasCustomPrompt="1"/>
          </p:nvPr>
        </p:nvSpPr>
        <p:spPr>
          <a:xfrm>
            <a:off x="335756" y="5270498"/>
            <a:ext cx="8861425" cy="666000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lang="da-DK" sz="4800" b="0" kern="120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dirty="0"/>
              <a:t>Headline (highlight with red text)</a:t>
            </a:r>
          </a:p>
        </p:txBody>
      </p:sp>
      <p:sp>
        <p:nvSpPr>
          <p:cNvPr id="11" name="Pladsholder til tekst 2"/>
          <p:cNvSpPr>
            <a:spLocks noGrp="1"/>
          </p:cNvSpPr>
          <p:nvPr>
            <p:ph type="body" sz="quarter" idx="15" hasCustomPrompt="1"/>
          </p:nvPr>
        </p:nvSpPr>
        <p:spPr>
          <a:xfrm>
            <a:off x="335756" y="6271200"/>
            <a:ext cx="4591050" cy="212400"/>
          </a:xfrm>
        </p:spPr>
        <p:txBody>
          <a:bodyPr anchor="b" anchorCtr="0"/>
          <a:lstStyle>
            <a:lvl1pPr marL="0" indent="0">
              <a:buNone/>
              <a:defRPr lang="da-DK" sz="1200" b="0" i="0" kern="1200" spc="60" baseline="0" dirty="0" smtClean="0">
                <a:solidFill>
                  <a:schemeClr val="tx1"/>
                </a:solidFill>
                <a:latin typeface="Karbon" panose="02000000000000000000" pitchFamily="2" charset="0"/>
                <a:ea typeface="+mn-ea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Presenters full name, cit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7020000"/>
            <a:ext cx="0" cy="0"/>
          </a:xfrm>
        </p:spPr>
        <p:txBody>
          <a:bodyPr vert="horz" lIns="0" tIns="0" rIns="0" bIns="0" rtlCol="0">
            <a:noAutofit/>
          </a:bodyPr>
          <a:lstStyle>
            <a:lvl1pPr>
              <a:defRPr lang="da-DK" sz="100" b="0" baseline="0" smtClean="0">
                <a:noFill/>
              </a:defRPr>
            </a:lvl1pPr>
          </a:lstStyle>
          <a:p>
            <a:pPr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7020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7020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6C32F758-B665-4BA1-9FF5-2B90572639DA}"/>
              </a:ext>
            </a:extLst>
          </p:cNvPr>
          <p:cNvSpPr/>
          <p:nvPr userDrawn="1"/>
        </p:nvSpPr>
        <p:spPr>
          <a:xfrm rot="16200000">
            <a:off x="10438052" y="-547321"/>
            <a:ext cx="495919" cy="2340462"/>
          </a:xfrm>
          <a:prstGeom prst="triangle">
            <a:avLst>
              <a:gd name="adj" fmla="val 5374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>
              <a:latin typeface="+mj-l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6E7D5D8-D413-41C4-8E55-AF44481457D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756" y="5983288"/>
            <a:ext cx="8861424" cy="2540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Insert </a:t>
            </a:r>
            <a:r>
              <a:rPr lang="en-GB" dirty="0" err="1"/>
              <a:t>subheadline</a:t>
            </a:r>
            <a:r>
              <a:rPr lang="en-GB" dirty="0"/>
              <a:t>, always grey</a:t>
            </a:r>
          </a:p>
        </p:txBody>
      </p:sp>
    </p:spTree>
    <p:extLst>
      <p:ext uri="{BB962C8B-B14F-4D97-AF65-F5344CB8AC3E}">
        <p14:creationId xmlns:p14="http://schemas.microsoft.com/office/powerpoint/2010/main" val="31441728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billede 1"/>
          <p:cNvSpPr>
            <a:spLocks noGrp="1"/>
          </p:cNvSpPr>
          <p:nvPr>
            <p:ph type="pic" sz="quarter" idx="16" hasCustomPrompt="1"/>
          </p:nvPr>
        </p:nvSpPr>
        <p:spPr>
          <a:xfrm>
            <a:off x="334963" y="1484313"/>
            <a:ext cx="11522075" cy="4537075"/>
          </a:xfrm>
          <a:solidFill>
            <a:schemeClr val="bg1">
              <a:lumMod val="95000"/>
            </a:schemeClr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GB" dirty="0"/>
              <a:t>Click on icon and insert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D7BB4-08FA-4C76-A266-617B2EF13BF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2655C9-EBFD-4931-AC1D-B2A59E1CC6C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38EFD1-058E-444A-AEBB-25F3FA812F8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01138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10" name="Pladsholder til billede 1"/>
          <p:cNvSpPr>
            <a:spLocks noGrp="1"/>
          </p:cNvSpPr>
          <p:nvPr>
            <p:ph type="pic" sz="quarter" idx="16" hasCustomPrompt="1"/>
          </p:nvPr>
        </p:nvSpPr>
        <p:spPr>
          <a:xfrm>
            <a:off x="334964" y="1484313"/>
            <a:ext cx="5651500" cy="4537074"/>
          </a:xfrm>
          <a:solidFill>
            <a:schemeClr val="bg1">
              <a:lumMod val="95000"/>
            </a:schemeClr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GB" dirty="0"/>
              <a:t>Click on icon and insert image</a:t>
            </a:r>
          </a:p>
        </p:txBody>
      </p:sp>
      <p:sp>
        <p:nvSpPr>
          <p:cNvPr id="12" name="Pladsholder til billede 1"/>
          <p:cNvSpPr>
            <a:spLocks noGrp="1"/>
          </p:cNvSpPr>
          <p:nvPr>
            <p:ph type="pic" sz="quarter" idx="17" hasCustomPrompt="1"/>
          </p:nvPr>
        </p:nvSpPr>
        <p:spPr>
          <a:xfrm>
            <a:off x="6198773" y="1484314"/>
            <a:ext cx="5651500" cy="4537074"/>
          </a:xfrm>
          <a:solidFill>
            <a:schemeClr val="bg1">
              <a:lumMod val="95000"/>
            </a:schemeClr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GB" dirty="0"/>
              <a:t>Click on icon and insert imag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AC1E46-8A5E-4E44-9930-1F4FA08A747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1797D7-29EC-4CFE-B5C3-DE309DE8CD7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17718F-85FA-4B9D-9432-8480898E0C2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57220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icture 1X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idx="1" hasCustomPrompt="1"/>
          </p:nvPr>
        </p:nvSpPr>
        <p:spPr>
          <a:xfrm>
            <a:off x="334964" y="1484312"/>
            <a:ext cx="5651500" cy="453707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Pladsholder til billede 1"/>
          <p:cNvSpPr>
            <a:spLocks noGrp="1"/>
          </p:cNvSpPr>
          <p:nvPr>
            <p:ph type="pic" sz="quarter" idx="17" hasCustomPrompt="1"/>
          </p:nvPr>
        </p:nvSpPr>
        <p:spPr>
          <a:xfrm>
            <a:off x="6198773" y="1484314"/>
            <a:ext cx="5652000" cy="4537074"/>
          </a:xfrm>
          <a:solidFill>
            <a:schemeClr val="bg1">
              <a:lumMod val="95000"/>
            </a:schemeClr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GB" dirty="0"/>
              <a:t>Click on icon and insert imag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107E1F-3B46-4C24-9E7B-79DB88185DB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B4547E-CC73-45A0-8A16-050B3FFB19B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9136F4-AB7F-4BEF-9FCA-34AAB69BAD8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95582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icture 1X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9" name="Pladsholder til billede 1"/>
          <p:cNvSpPr>
            <a:spLocks noGrp="1"/>
          </p:cNvSpPr>
          <p:nvPr>
            <p:ph type="pic" sz="quarter" idx="17" hasCustomPrompt="1"/>
          </p:nvPr>
        </p:nvSpPr>
        <p:spPr>
          <a:xfrm>
            <a:off x="4281488" y="1484314"/>
            <a:ext cx="7575549" cy="4545012"/>
          </a:xfrm>
          <a:solidFill>
            <a:schemeClr val="bg1">
              <a:lumMod val="95000"/>
            </a:schemeClr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GB" dirty="0"/>
              <a:t>Click on icon and insert ima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ABCE10-DD39-4844-9E78-546808FC6E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4963" y="1483200"/>
            <a:ext cx="3729437" cy="4546800"/>
          </a:xfrm>
        </p:spPr>
        <p:txBody>
          <a:bodyPr/>
          <a:lstStyle>
            <a:lvl5pPr>
              <a:defRPr/>
            </a:lvl5pPr>
            <a:lvl6pPr>
              <a:buNone/>
              <a:defRPr/>
            </a:lvl6pPr>
            <a:lvl7pPr>
              <a:buNone/>
              <a:defRPr/>
            </a:lvl7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ACACD5-799E-40E3-B601-81EB9F908B96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29A0DB-62B5-4DF2-BBB2-4B54FB13420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C1593CE-31FD-46EC-8A28-6FDA8C91E14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59771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4964" y="646112"/>
            <a:ext cx="7788274" cy="3186417"/>
          </a:xfrm>
        </p:spPr>
        <p:txBody>
          <a:bodyPr/>
          <a:lstStyle>
            <a:lvl1pPr>
              <a:defRPr sz="3600" b="0" i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Pladsholder til tekst 2"/>
          <p:cNvSpPr>
            <a:spLocks noGrp="1"/>
          </p:cNvSpPr>
          <p:nvPr>
            <p:ph type="body" sz="quarter" idx="15" hasCustomPrompt="1"/>
          </p:nvPr>
        </p:nvSpPr>
        <p:spPr>
          <a:xfrm>
            <a:off x="334964" y="3982828"/>
            <a:ext cx="7788273" cy="212400"/>
          </a:xfrm>
        </p:spPr>
        <p:txBody>
          <a:bodyPr anchor="b" anchorCtr="0"/>
          <a:lstStyle>
            <a:lvl1pPr marL="0" indent="0">
              <a:buNone/>
              <a:defRPr lang="da-DK" sz="1400" b="0" kern="1200" baseline="0" dirty="0" smtClean="0">
                <a:solidFill>
                  <a:schemeClr val="bg2"/>
                </a:solidFill>
                <a:latin typeface="Karbon Medium" pitchFamily="2" charset="0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and insert Name Surname</a:t>
            </a:r>
          </a:p>
        </p:txBody>
      </p:sp>
      <p:sp>
        <p:nvSpPr>
          <p:cNvPr id="12" name="Pladsholder til tekst 2"/>
          <p:cNvSpPr>
            <a:spLocks noGrp="1"/>
          </p:cNvSpPr>
          <p:nvPr>
            <p:ph type="body" sz="quarter" idx="20" hasCustomPrompt="1"/>
          </p:nvPr>
        </p:nvSpPr>
        <p:spPr>
          <a:xfrm>
            <a:off x="334964" y="4219051"/>
            <a:ext cx="7788273" cy="212400"/>
          </a:xfrm>
        </p:spPr>
        <p:txBody>
          <a:bodyPr anchor="t" anchorCtr="0"/>
          <a:lstStyle>
            <a:lvl1pPr marL="0" indent="0">
              <a:buNone/>
              <a:defRPr lang="da-DK" sz="1400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439FEB-F78B-4175-9B69-5FA9F14DA940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7696EA-0AC2-4C81-B8ED-7F33E821807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E6BBDC-4C7E-4CF1-AF18-E2C08C7EF13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55373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2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4964" y="646112"/>
            <a:ext cx="7788274" cy="3186417"/>
          </a:xfrm>
        </p:spPr>
        <p:txBody>
          <a:bodyPr/>
          <a:lstStyle>
            <a:lvl1pPr>
              <a:defRPr sz="36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Pladsholder til tekst 2"/>
          <p:cNvSpPr>
            <a:spLocks noGrp="1"/>
          </p:cNvSpPr>
          <p:nvPr>
            <p:ph type="body" sz="quarter" idx="15" hasCustomPrompt="1"/>
          </p:nvPr>
        </p:nvSpPr>
        <p:spPr>
          <a:xfrm>
            <a:off x="334964" y="3982828"/>
            <a:ext cx="7788273" cy="212400"/>
          </a:xfrm>
        </p:spPr>
        <p:txBody>
          <a:bodyPr anchor="b" anchorCtr="0"/>
          <a:lstStyle>
            <a:lvl1pPr marL="0" indent="0">
              <a:buNone/>
              <a:defRPr lang="da-DK" sz="1400" b="0" i="0" kern="1200" baseline="0" dirty="0" smtClean="0">
                <a:solidFill>
                  <a:schemeClr val="bg1"/>
                </a:solidFill>
                <a:latin typeface="Karbon Medium" pitchFamily="2" charset="0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and insert Name Surname</a:t>
            </a:r>
          </a:p>
        </p:txBody>
      </p:sp>
      <p:sp>
        <p:nvSpPr>
          <p:cNvPr id="12" name="Pladsholder til tekst 2"/>
          <p:cNvSpPr>
            <a:spLocks noGrp="1"/>
          </p:cNvSpPr>
          <p:nvPr>
            <p:ph type="body" sz="quarter" idx="20" hasCustomPrompt="1"/>
          </p:nvPr>
        </p:nvSpPr>
        <p:spPr>
          <a:xfrm>
            <a:off x="334964" y="4219051"/>
            <a:ext cx="7788273" cy="212400"/>
          </a:xfrm>
        </p:spPr>
        <p:txBody>
          <a:bodyPr anchor="t" anchorCtr="0"/>
          <a:lstStyle>
            <a:lvl1pPr marL="0" indent="0">
              <a:buNone/>
              <a:defRPr lang="da-DK" sz="1400" b="0" i="0" kern="1200" baseline="0" dirty="0" smtClean="0">
                <a:solidFill>
                  <a:schemeClr val="bg1"/>
                </a:solidFill>
                <a:latin typeface="Karbon Medium" pitchFamily="2" charset="0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Title</a:t>
            </a:r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1438" y="6193862"/>
            <a:ext cx="1515599" cy="317774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79CFE27-14FD-421E-886F-4FBB96F4ADFD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C216131-F000-4901-87D9-56387AC13053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AC110C-8FC6-40A2-89B2-76864CC0C08A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79720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Pic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51CEC32-E511-430F-943A-2A928D4D1F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4963" y="1483200"/>
            <a:ext cx="5651837" cy="4536000"/>
          </a:xfrm>
          <a:solidFill>
            <a:schemeClr val="accent3"/>
          </a:solidFill>
        </p:spPr>
        <p:txBody>
          <a:bodyPr lIns="216000" tIns="216000" rIns="216000" bIns="1886400"/>
          <a:lstStyle>
            <a:lvl5pPr>
              <a:defRPr/>
            </a:lvl5pPr>
            <a:lvl6pPr>
              <a:buNone/>
              <a:defRPr/>
            </a:lvl6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Pladsholder til billede 1"/>
          <p:cNvSpPr>
            <a:spLocks noGrp="1"/>
          </p:cNvSpPr>
          <p:nvPr>
            <p:ph type="pic" sz="quarter" idx="17" hasCustomPrompt="1"/>
          </p:nvPr>
        </p:nvSpPr>
        <p:spPr>
          <a:xfrm>
            <a:off x="6198773" y="1484314"/>
            <a:ext cx="5651837" cy="4537074"/>
          </a:xfrm>
          <a:solidFill>
            <a:schemeClr val="bg1">
              <a:lumMod val="95000"/>
            </a:schemeClr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icon and insert image</a:t>
            </a:r>
          </a:p>
        </p:txBody>
      </p:sp>
      <p:sp>
        <p:nvSpPr>
          <p:cNvPr id="12" name="Pladsholder til tekst 4"/>
          <p:cNvSpPr>
            <a:spLocks noGrp="1"/>
          </p:cNvSpPr>
          <p:nvPr>
            <p:ph type="body" sz="quarter" idx="18" hasCustomPrompt="1"/>
          </p:nvPr>
        </p:nvSpPr>
        <p:spPr>
          <a:xfrm>
            <a:off x="334627" y="4135438"/>
            <a:ext cx="5651837" cy="1885950"/>
          </a:xfrm>
          <a:noFill/>
        </p:spPr>
        <p:txBody>
          <a:bodyPr lIns="144000" tIns="0" rIns="144000" bIns="0" anchor="b" anchorCtr="0"/>
          <a:lstStyle>
            <a:lvl1pPr marL="0" indent="0" algn="l">
              <a:lnSpc>
                <a:spcPct val="50000"/>
              </a:lnSpc>
              <a:spcBef>
                <a:spcPts val="0"/>
              </a:spcBef>
              <a:buNone/>
              <a:defRPr sz="13800" b="0">
                <a:solidFill>
                  <a:schemeClr val="accent2"/>
                </a:solidFill>
                <a:latin typeface="+mn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62%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BD1E94-90F4-4142-B90A-7D792EE58C6F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8F5807-E28A-4520-80C3-D89B3E20A27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05767D-EE52-4863-87AF-B3B0B431EEE9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64857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Tex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D5324DA-7E9B-446D-8E32-74E2EA4CAF4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4963" y="1483200"/>
            <a:ext cx="5651837" cy="4536000"/>
          </a:xfrm>
          <a:solidFill>
            <a:schemeClr val="accent3"/>
          </a:solidFill>
        </p:spPr>
        <p:txBody>
          <a:bodyPr lIns="216000" tIns="216000" rIns="216000" bIns="1886400"/>
          <a:lstStyle>
            <a:lvl5pPr>
              <a:defRPr/>
            </a:lvl5pPr>
            <a:lvl6pPr>
              <a:buNone/>
              <a:defRPr/>
            </a:lvl6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DEA79AA-AB77-4BCB-B83B-D0340CF4C50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99200" y="1483200"/>
            <a:ext cx="5651836" cy="4536000"/>
          </a:xfrm>
        </p:spPr>
        <p:txBody>
          <a:bodyPr lIns="216000" tIns="216000" rIns="216000" bIns="216000"/>
          <a:lstStyle>
            <a:lvl5pPr>
              <a:defRPr/>
            </a:lvl5pPr>
            <a:lvl6pPr>
              <a:buNone/>
              <a:defRPr/>
            </a:lvl6pPr>
            <a:lvl7pPr>
              <a:buNone/>
              <a:defRPr/>
            </a:lvl7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ladsholder til tekst 9"/>
          <p:cNvSpPr>
            <a:spLocks noGrp="1"/>
          </p:cNvSpPr>
          <p:nvPr>
            <p:ph type="body" sz="quarter" idx="18" hasCustomPrompt="1"/>
          </p:nvPr>
        </p:nvSpPr>
        <p:spPr>
          <a:xfrm>
            <a:off x="334800" y="4135438"/>
            <a:ext cx="5652000" cy="1885950"/>
          </a:xfrm>
          <a:noFill/>
        </p:spPr>
        <p:txBody>
          <a:bodyPr lIns="144000" tIns="0" rIns="144000" bIns="0" anchor="b" anchorCtr="0"/>
          <a:lstStyle>
            <a:lvl1pPr marL="0" indent="0" algn="l">
              <a:lnSpc>
                <a:spcPct val="50000"/>
              </a:lnSpc>
              <a:spcBef>
                <a:spcPts val="0"/>
              </a:spcBef>
              <a:buNone/>
              <a:defRPr sz="13800" b="0">
                <a:solidFill>
                  <a:schemeClr val="accent2"/>
                </a:solidFill>
                <a:latin typeface="+mn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62%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66D52C-B17F-4BA7-ACB9-D3473246076F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BE8D11-C24C-4F45-9E2B-9B343358A16D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6B1AB1-C0FF-483C-A4FA-721102A51EB1}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96659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2X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55B8927-03FC-48FF-B85A-8AA99330890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4963" y="1483200"/>
            <a:ext cx="5651837" cy="4536000"/>
          </a:xfrm>
          <a:solidFill>
            <a:schemeClr val="accent3"/>
          </a:solidFill>
        </p:spPr>
        <p:txBody>
          <a:bodyPr lIns="216000" tIns="216000" rIns="216000" bIns="1886400"/>
          <a:lstStyle>
            <a:lvl5pPr>
              <a:defRPr/>
            </a:lvl5pPr>
            <a:lvl6pPr>
              <a:buNone/>
              <a:defRPr/>
            </a:lvl6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8321EC7-330E-44C3-948A-95E0D6637D1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99200" y="1483200"/>
            <a:ext cx="5652000" cy="4536000"/>
          </a:xfrm>
          <a:solidFill>
            <a:schemeClr val="accent3"/>
          </a:solidFill>
        </p:spPr>
        <p:txBody>
          <a:bodyPr lIns="216000" tIns="216000" rIns="216000" bIns="188640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Pladsholder til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334800" y="4135438"/>
            <a:ext cx="5652000" cy="1885950"/>
          </a:xfrm>
          <a:noFill/>
        </p:spPr>
        <p:txBody>
          <a:bodyPr lIns="144000" tIns="0" rIns="144000" bIns="0" anchor="b" anchorCtr="0"/>
          <a:lstStyle>
            <a:lvl1pPr marL="0" indent="0" algn="l">
              <a:lnSpc>
                <a:spcPct val="50000"/>
              </a:lnSpc>
              <a:spcBef>
                <a:spcPts val="0"/>
              </a:spcBef>
              <a:buNone/>
              <a:defRPr sz="13800" b="0">
                <a:solidFill>
                  <a:schemeClr val="accent2"/>
                </a:solidFill>
                <a:latin typeface="+mn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62%</a:t>
            </a:r>
          </a:p>
        </p:txBody>
      </p:sp>
      <p:sp>
        <p:nvSpPr>
          <p:cNvPr id="15" name="Pladsholder til tekst 6"/>
          <p:cNvSpPr>
            <a:spLocks noGrp="1"/>
          </p:cNvSpPr>
          <p:nvPr>
            <p:ph type="body" sz="quarter" idx="19" hasCustomPrompt="1"/>
          </p:nvPr>
        </p:nvSpPr>
        <p:spPr>
          <a:xfrm>
            <a:off x="6199200" y="4135438"/>
            <a:ext cx="5652000" cy="1885950"/>
          </a:xfrm>
          <a:noFill/>
        </p:spPr>
        <p:txBody>
          <a:bodyPr lIns="144000" tIns="0" rIns="144000" bIns="0" anchor="b" anchorCtr="0"/>
          <a:lstStyle>
            <a:lvl1pPr marL="0" indent="0" algn="l">
              <a:lnSpc>
                <a:spcPct val="50000"/>
              </a:lnSpc>
              <a:spcBef>
                <a:spcPts val="0"/>
              </a:spcBef>
              <a:buNone/>
              <a:defRPr sz="13800" b="0">
                <a:solidFill>
                  <a:schemeClr val="accent2"/>
                </a:solidFill>
                <a:latin typeface="+mn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62%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6ED80D-C570-42FB-A9D6-EE115C02A96D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18EF66-BD69-47D0-96AF-A332C16ECA6C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2F9174-8430-4D45-86FD-BC5A54A9C53F}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63485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8DA1569A-EBCF-40DA-AD25-E0D5BC2BEC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4800" y="1483200"/>
            <a:ext cx="3621600" cy="4536000"/>
          </a:xfrm>
          <a:solidFill>
            <a:schemeClr val="accent3"/>
          </a:solidFill>
        </p:spPr>
        <p:txBody>
          <a:bodyPr lIns="216000" tIns="216000" rIns="216000" bIns="1886400"/>
          <a:lstStyle>
            <a:lvl5pPr>
              <a:defRPr/>
            </a:lvl5pPr>
            <a:lvl6pPr>
              <a:buNone/>
              <a:defRPr/>
            </a:lvl6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BD724CB-C930-4527-B17F-6B562E11238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5119" y="1483200"/>
            <a:ext cx="3621600" cy="4536000"/>
          </a:xfrm>
          <a:solidFill>
            <a:schemeClr val="accent3"/>
          </a:solidFill>
        </p:spPr>
        <p:txBody>
          <a:bodyPr lIns="216000" tIns="216000" rIns="216000" bIns="188640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18146656-6932-44B5-8BF0-5C5F1C0FEBB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35438" y="1483200"/>
            <a:ext cx="3621600" cy="4536000"/>
          </a:xfrm>
          <a:solidFill>
            <a:schemeClr val="accent3"/>
          </a:solidFill>
        </p:spPr>
        <p:txBody>
          <a:bodyPr lIns="216000" tIns="216000" rIns="216000" bIns="188640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Pladsholder til tekst 6"/>
          <p:cNvSpPr>
            <a:spLocks noGrp="1"/>
          </p:cNvSpPr>
          <p:nvPr>
            <p:ph type="body" sz="quarter" idx="17" hasCustomPrompt="1"/>
          </p:nvPr>
        </p:nvSpPr>
        <p:spPr>
          <a:xfrm>
            <a:off x="334800" y="4136400"/>
            <a:ext cx="3621600" cy="1885950"/>
          </a:xfrm>
          <a:noFill/>
        </p:spPr>
        <p:txBody>
          <a:bodyPr lIns="144000" tIns="0" rIns="144000" bIns="0" anchor="b" anchorCtr="0"/>
          <a:lstStyle>
            <a:lvl1pPr marL="0" indent="0" algn="l">
              <a:lnSpc>
                <a:spcPct val="50000"/>
              </a:lnSpc>
              <a:spcBef>
                <a:spcPts val="0"/>
              </a:spcBef>
              <a:buNone/>
              <a:defRPr sz="13800" b="0">
                <a:solidFill>
                  <a:schemeClr val="accent2"/>
                </a:solidFill>
                <a:latin typeface="+mn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1</a:t>
            </a:r>
          </a:p>
        </p:txBody>
      </p:sp>
      <p:sp>
        <p:nvSpPr>
          <p:cNvPr id="16" name="Pladsholder til tekst 7"/>
          <p:cNvSpPr>
            <a:spLocks noGrp="1"/>
          </p:cNvSpPr>
          <p:nvPr>
            <p:ph type="body" sz="quarter" idx="19" hasCustomPrompt="1"/>
          </p:nvPr>
        </p:nvSpPr>
        <p:spPr>
          <a:xfrm>
            <a:off x="4285118" y="4136400"/>
            <a:ext cx="3621601" cy="1885950"/>
          </a:xfrm>
          <a:noFill/>
        </p:spPr>
        <p:txBody>
          <a:bodyPr lIns="144000" tIns="0" rIns="144000" bIns="0" anchor="b" anchorCtr="0"/>
          <a:lstStyle>
            <a:lvl1pPr marL="0" indent="0" algn="l">
              <a:lnSpc>
                <a:spcPct val="50000"/>
              </a:lnSpc>
              <a:spcBef>
                <a:spcPts val="0"/>
              </a:spcBef>
              <a:buNone/>
              <a:defRPr sz="13800" b="0">
                <a:solidFill>
                  <a:schemeClr val="accent2"/>
                </a:solidFill>
                <a:latin typeface="+mn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1</a:t>
            </a:r>
          </a:p>
        </p:txBody>
      </p:sp>
      <p:sp>
        <p:nvSpPr>
          <p:cNvPr id="18" name="Pladsholder til tekst 8"/>
          <p:cNvSpPr>
            <a:spLocks noGrp="1"/>
          </p:cNvSpPr>
          <p:nvPr>
            <p:ph type="body" sz="quarter" idx="21" hasCustomPrompt="1"/>
          </p:nvPr>
        </p:nvSpPr>
        <p:spPr>
          <a:xfrm>
            <a:off x="8235438" y="4136400"/>
            <a:ext cx="3621600" cy="1885950"/>
          </a:xfrm>
          <a:noFill/>
        </p:spPr>
        <p:txBody>
          <a:bodyPr lIns="144000" tIns="0" rIns="144000" bIns="0" anchor="b" anchorCtr="0"/>
          <a:lstStyle>
            <a:lvl1pPr marL="0" indent="0" algn="l">
              <a:lnSpc>
                <a:spcPct val="50000"/>
              </a:lnSpc>
              <a:spcBef>
                <a:spcPts val="0"/>
              </a:spcBef>
              <a:buNone/>
              <a:defRPr sz="13800" b="0">
                <a:solidFill>
                  <a:schemeClr val="accent2"/>
                </a:solidFill>
                <a:latin typeface="+mn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1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C4C2CE-F352-4BD6-BF53-694F31D51647}"/>
              </a:ext>
            </a:extLst>
          </p:cNvPr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237143-5B84-4F25-834C-53E43CE48BFB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742B0E-9002-455A-ABCE-020A4E97CF8A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95319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ktangel 2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>
              <a:latin typeface="+mj-lt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2A92A65-A571-4B66-8C36-2CD684DF6E09}"/>
              </a:ext>
            </a:extLst>
          </p:cNvPr>
          <p:cNvCxnSpPr>
            <a:cxnSpLocks/>
          </p:cNvCxnSpPr>
          <p:nvPr userDrawn="1"/>
        </p:nvCxnSpPr>
        <p:spPr>
          <a:xfrm>
            <a:off x="334963" y="1150113"/>
            <a:ext cx="1152207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Insert text here</a:t>
            </a:r>
          </a:p>
        </p:txBody>
      </p:sp>
      <p:pic>
        <p:nvPicPr>
          <p:cNvPr id="24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1438" y="6193862"/>
            <a:ext cx="1515599" cy="317774"/>
          </a:xfrm>
          <a:prstGeom prst="rect">
            <a:avLst/>
          </a:prstGeo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9BDC19-5855-4B0E-A760-F9B884768F54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334963" y="1484312"/>
            <a:ext cx="11522073" cy="4537075"/>
          </a:xfrm>
        </p:spPr>
        <p:txBody>
          <a:bodyPr/>
          <a:lstStyle>
            <a:lvl1pPr marL="180000" indent="-180000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3pPr>
            <a:lvl4pPr marL="0" indent="0">
              <a:buSzPct val="100000"/>
              <a:buFont typeface="Arial" panose="020B0604020202020204" pitchFamily="34" charset="0"/>
              <a:buChar char="​"/>
              <a:defRPr sz="2400">
                <a:solidFill>
                  <a:schemeClr val="accent3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A702F8A-F582-4F72-8D2A-CFF443107ADE}"/>
              </a:ext>
            </a:extLst>
          </p:cNvPr>
          <p:cNvSpPr>
            <a:spLocks noGrp="1"/>
          </p:cNvSpPr>
          <p:nvPr>
            <p:ph type="dt" sz="half" idx="6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5C7D64-F602-4B1D-99BB-C2C419131FC0}"/>
              </a:ext>
            </a:extLst>
          </p:cNvPr>
          <p:cNvSpPr>
            <a:spLocks noGrp="1"/>
          </p:cNvSpPr>
          <p:nvPr>
            <p:ph type="ftr" sz="quarter" idx="6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36835C-D937-4371-BCAF-7C0FDE62E561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41063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4963" y="646113"/>
            <a:ext cx="11522075" cy="504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68F8E32-EAB9-4118-9AD9-E79BE9EB2C6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4963" y="1483200"/>
            <a:ext cx="2664000" cy="4536000"/>
          </a:xfrm>
          <a:solidFill>
            <a:schemeClr val="accent3"/>
          </a:solidFill>
        </p:spPr>
        <p:txBody>
          <a:bodyPr lIns="216000" tIns="216000" rIns="216000" bIns="0"/>
          <a:lstStyle>
            <a:lvl5pPr>
              <a:defRPr/>
            </a:lvl5pPr>
            <a:lvl6pPr>
              <a:buNone/>
              <a:defRPr/>
            </a:lvl6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3FAA9BB7-CC51-4021-AD27-31A53485EDE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88855" y="1483200"/>
            <a:ext cx="2664000" cy="4536000"/>
          </a:xfrm>
          <a:solidFill>
            <a:schemeClr val="accent3"/>
          </a:solidFill>
        </p:spPr>
        <p:txBody>
          <a:bodyPr lIns="216000" tIns="216000" rIns="216000" bIns="178920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AEBEE0AD-7914-46C1-B209-E8109D86CA4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42747" y="1483200"/>
            <a:ext cx="2664000" cy="4536000"/>
          </a:xfrm>
          <a:solidFill>
            <a:schemeClr val="accent3"/>
          </a:solidFill>
        </p:spPr>
        <p:txBody>
          <a:bodyPr lIns="216000" tIns="216000" rIns="216000" bIns="178920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2E26DAB3-2418-4B5F-AAB0-F967BF13137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193038" y="1483200"/>
            <a:ext cx="2664000" cy="4536000"/>
          </a:xfrm>
          <a:solidFill>
            <a:schemeClr val="accent3"/>
          </a:solidFill>
        </p:spPr>
        <p:txBody>
          <a:bodyPr lIns="216000" tIns="216000" rIns="216000" bIns="178920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Pladsholder til tekst 7"/>
          <p:cNvSpPr>
            <a:spLocks noGrp="1"/>
          </p:cNvSpPr>
          <p:nvPr>
            <p:ph type="body" sz="quarter" idx="20" hasCustomPrompt="1"/>
          </p:nvPr>
        </p:nvSpPr>
        <p:spPr>
          <a:xfrm>
            <a:off x="334800" y="4136400"/>
            <a:ext cx="2664000" cy="1886400"/>
          </a:xfrm>
          <a:noFill/>
        </p:spPr>
        <p:txBody>
          <a:bodyPr wrap="square" lIns="144000" tIns="0" rIns="144000" bIns="0" anchor="b" anchorCtr="0"/>
          <a:lstStyle>
            <a:lvl1pPr marL="0" indent="0" algn="l">
              <a:lnSpc>
                <a:spcPct val="50000"/>
              </a:lnSpc>
              <a:spcBef>
                <a:spcPts val="0"/>
              </a:spcBef>
              <a:buNone/>
              <a:defRPr sz="13800" b="0">
                <a:solidFill>
                  <a:schemeClr val="accent2"/>
                </a:solidFill>
                <a:latin typeface="+mn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1</a:t>
            </a:r>
          </a:p>
        </p:txBody>
      </p:sp>
      <p:sp>
        <p:nvSpPr>
          <p:cNvPr id="21" name="Pladsholder til tekst 8"/>
          <p:cNvSpPr>
            <a:spLocks noGrp="1"/>
          </p:cNvSpPr>
          <p:nvPr>
            <p:ph type="body" sz="quarter" idx="22" hasCustomPrompt="1"/>
          </p:nvPr>
        </p:nvSpPr>
        <p:spPr>
          <a:xfrm>
            <a:off x="3288855" y="4136400"/>
            <a:ext cx="2664000" cy="1886400"/>
          </a:xfrm>
          <a:noFill/>
        </p:spPr>
        <p:txBody>
          <a:bodyPr wrap="square" lIns="144000" tIns="0" rIns="144000" bIns="0" anchor="b" anchorCtr="0"/>
          <a:lstStyle>
            <a:lvl1pPr marL="0" indent="0" algn="l">
              <a:lnSpc>
                <a:spcPct val="50000"/>
              </a:lnSpc>
              <a:spcBef>
                <a:spcPts val="0"/>
              </a:spcBef>
              <a:buNone/>
              <a:defRPr sz="13800" b="0">
                <a:solidFill>
                  <a:schemeClr val="accent2"/>
                </a:solidFill>
                <a:latin typeface="+mn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2</a:t>
            </a:r>
          </a:p>
        </p:txBody>
      </p:sp>
      <p:sp>
        <p:nvSpPr>
          <p:cNvPr id="23" name="Pladsholder til tekst 9"/>
          <p:cNvSpPr>
            <a:spLocks noGrp="1"/>
          </p:cNvSpPr>
          <p:nvPr>
            <p:ph type="body" sz="quarter" idx="24" hasCustomPrompt="1"/>
          </p:nvPr>
        </p:nvSpPr>
        <p:spPr>
          <a:xfrm>
            <a:off x="6242747" y="4136400"/>
            <a:ext cx="2664000" cy="1886400"/>
          </a:xfrm>
          <a:noFill/>
        </p:spPr>
        <p:txBody>
          <a:bodyPr wrap="square" lIns="144000" tIns="0" rIns="144000" bIns="0" anchor="b" anchorCtr="0"/>
          <a:lstStyle>
            <a:lvl1pPr marL="0" indent="0" algn="l">
              <a:lnSpc>
                <a:spcPct val="50000"/>
              </a:lnSpc>
              <a:spcBef>
                <a:spcPts val="0"/>
              </a:spcBef>
              <a:buNone/>
              <a:defRPr sz="13800" b="0">
                <a:solidFill>
                  <a:schemeClr val="accent2"/>
                </a:solidFill>
                <a:latin typeface="+mn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3</a:t>
            </a:r>
          </a:p>
        </p:txBody>
      </p:sp>
      <p:sp>
        <p:nvSpPr>
          <p:cNvPr id="25" name="Pladsholder til tekst 10"/>
          <p:cNvSpPr>
            <a:spLocks noGrp="1"/>
          </p:cNvSpPr>
          <p:nvPr>
            <p:ph type="body" sz="quarter" idx="26" hasCustomPrompt="1"/>
          </p:nvPr>
        </p:nvSpPr>
        <p:spPr>
          <a:xfrm>
            <a:off x="9193038" y="4136400"/>
            <a:ext cx="2664000" cy="1886400"/>
          </a:xfrm>
          <a:noFill/>
        </p:spPr>
        <p:txBody>
          <a:bodyPr wrap="square" lIns="144000" tIns="0" rIns="144000" bIns="0" anchor="b" anchorCtr="0"/>
          <a:lstStyle>
            <a:lvl1pPr algn="l">
              <a:lnSpc>
                <a:spcPct val="50000"/>
              </a:lnSpc>
              <a:spcBef>
                <a:spcPts val="0"/>
              </a:spcBef>
              <a:buNone/>
              <a:defRPr sz="13800" b="0">
                <a:solidFill>
                  <a:schemeClr val="accent2"/>
                </a:solidFill>
                <a:latin typeface="+mn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4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0B1E79-45EF-4BD6-A8D4-FCE335F57876}"/>
              </a:ext>
            </a:extLst>
          </p:cNvPr>
          <p:cNvSpPr>
            <a:spLocks noGrp="1"/>
          </p:cNvSpPr>
          <p:nvPr>
            <p:ph type="dt" sz="half" idx="3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25DF6C-D192-4F9E-BB3F-599690F27CE7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6EC387-415C-4D45-A0E9-79AF666C9991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74556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4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4963" y="646113"/>
            <a:ext cx="11522075" cy="504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15" name="Pladsholder til billede 1"/>
          <p:cNvSpPr>
            <a:spLocks noGrp="1"/>
          </p:cNvSpPr>
          <p:nvPr>
            <p:ph type="pic" sz="quarter" idx="17"/>
          </p:nvPr>
        </p:nvSpPr>
        <p:spPr>
          <a:xfrm>
            <a:off x="334800" y="1793875"/>
            <a:ext cx="2664000" cy="1693544"/>
          </a:xfrm>
          <a:solidFill>
            <a:schemeClr val="bg1">
              <a:lumMod val="95000"/>
            </a:schemeClr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Pladsholder til billede 1"/>
          <p:cNvSpPr>
            <a:spLocks noGrp="1"/>
          </p:cNvSpPr>
          <p:nvPr>
            <p:ph type="pic" sz="quarter" idx="19"/>
          </p:nvPr>
        </p:nvSpPr>
        <p:spPr>
          <a:xfrm>
            <a:off x="3287546" y="1793875"/>
            <a:ext cx="2664000" cy="1693544"/>
          </a:xfrm>
          <a:solidFill>
            <a:schemeClr val="bg1">
              <a:lumMod val="95000"/>
            </a:schemeClr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0" name="Pladsholder til billede 1"/>
          <p:cNvSpPr>
            <a:spLocks noGrp="1"/>
          </p:cNvSpPr>
          <p:nvPr>
            <p:ph type="pic" sz="quarter" idx="21"/>
          </p:nvPr>
        </p:nvSpPr>
        <p:spPr>
          <a:xfrm>
            <a:off x="6240292" y="1793875"/>
            <a:ext cx="2664000" cy="1693544"/>
          </a:xfrm>
          <a:solidFill>
            <a:schemeClr val="bg1">
              <a:lumMod val="95000"/>
            </a:schemeClr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3" name="Pladsholder til billede 1"/>
          <p:cNvSpPr>
            <a:spLocks noGrp="1"/>
          </p:cNvSpPr>
          <p:nvPr>
            <p:ph type="pic" sz="quarter" idx="23"/>
          </p:nvPr>
        </p:nvSpPr>
        <p:spPr>
          <a:xfrm>
            <a:off x="9193038" y="1793875"/>
            <a:ext cx="2664000" cy="1693544"/>
          </a:xfrm>
          <a:solidFill>
            <a:schemeClr val="bg1">
              <a:lumMod val="95000"/>
            </a:schemeClr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088B0C-DCAF-49C6-81F2-CD1EC21C6B7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963" y="3610800"/>
            <a:ext cx="2664000" cy="21096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1pPr>
            <a:lvl5pPr>
              <a:defRPr/>
            </a:lvl5pPr>
            <a:lvl6pPr>
              <a:buNone/>
              <a:defRPr/>
            </a:lvl6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EEB672F-426D-4608-A4AF-5EB99E267ED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287546" y="3610800"/>
            <a:ext cx="2664000" cy="21096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E28FF1-EA37-40BE-B30B-66C96602C2F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40292" y="3610800"/>
            <a:ext cx="2664000" cy="21096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7D539EC-4016-47EE-8C74-E8984D8F35A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193038" y="3610800"/>
            <a:ext cx="2664000" cy="21096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6FDA6F5-2B87-41D5-BD32-E8F352BFE9D0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0CEDAC-F3E0-43CC-BD93-5BE9ACFD7303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B894510-64E8-4FAE-8607-DBCAD148C77E}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87801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85863" y="3041166"/>
            <a:ext cx="9820275" cy="890754"/>
          </a:xfrm>
        </p:spPr>
        <p:txBody>
          <a:bodyPr/>
          <a:lstStyle>
            <a:lvl1pPr algn="ctr">
              <a:defRPr sz="56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8" name="Tekstfelt 5"/>
          <p:cNvSpPr txBox="1"/>
          <p:nvPr userDrawn="1"/>
        </p:nvSpPr>
        <p:spPr>
          <a:xfrm>
            <a:off x="334963" y="6353514"/>
            <a:ext cx="128644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0" dirty="0">
                <a:solidFill>
                  <a:schemeClr val="tx1"/>
                </a:solidFill>
              </a:rPr>
              <a:t>3shape.com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B3AF17-FAA1-4BDB-833E-7E7A583A1E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0089DC-CA69-4AFD-98BC-254F349A20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38000" y="6084000"/>
            <a:ext cx="5317200" cy="370800"/>
          </a:xfrm>
        </p:spPr>
        <p:txBody>
          <a:bodyPr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3A6722-0F7D-40A1-961B-ECD1430EC0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549287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9F6B6AE-B90F-468A-AABF-53F037AD2B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80E2286-723B-43B9-A563-19A376DD4D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AF880E-CB9B-44AE-9B36-973717EA9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26032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BC4E0B-0DFA-4797-B3CC-A9FCF260B7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83F81E-815A-4A25-8778-C303806868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9A2FA0-5B50-43BF-BC5A-1B9F867EB4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77731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Tite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6396EC7-0573-42B8-A7DA-D1D23ADD138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5757" y="605916"/>
            <a:ext cx="11520485" cy="4330888"/>
          </a:xfrm>
          <a:custGeom>
            <a:avLst/>
            <a:gdLst>
              <a:gd name="connsiteX0" fmla="*/ 9134301 w 11520485"/>
              <a:gd name="connsiteY0" fmla="*/ 0 h 4330888"/>
              <a:gd name="connsiteX1" fmla="*/ 9177423 w 11520485"/>
              <a:gd name="connsiteY1" fmla="*/ 4196 h 4330888"/>
              <a:gd name="connsiteX2" fmla="*/ 9169850 w 11520485"/>
              <a:gd name="connsiteY2" fmla="*/ 4866 h 4330888"/>
              <a:gd name="connsiteX3" fmla="*/ 11520485 w 11520485"/>
              <a:gd name="connsiteY3" fmla="*/ 260596 h 4330888"/>
              <a:gd name="connsiteX4" fmla="*/ 11520485 w 11520485"/>
              <a:gd name="connsiteY4" fmla="*/ 4330888 h 4330888"/>
              <a:gd name="connsiteX5" fmla="*/ 0 w 11520485"/>
              <a:gd name="connsiteY5" fmla="*/ 4330888 h 4330888"/>
              <a:gd name="connsiteX6" fmla="*/ 0 w 11520485"/>
              <a:gd name="connsiteY6" fmla="*/ 897445 h 4330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520485" h="4330888">
                <a:moveTo>
                  <a:pt x="9134301" y="0"/>
                </a:moveTo>
                <a:lnTo>
                  <a:pt x="9177423" y="4196"/>
                </a:lnTo>
                <a:lnTo>
                  <a:pt x="9169850" y="4866"/>
                </a:lnTo>
                <a:lnTo>
                  <a:pt x="11520485" y="260596"/>
                </a:lnTo>
                <a:lnTo>
                  <a:pt x="11520485" y="4330888"/>
                </a:lnTo>
                <a:lnTo>
                  <a:pt x="0" y="4330888"/>
                </a:lnTo>
                <a:lnTo>
                  <a:pt x="0" y="897445"/>
                </a:lnTo>
                <a:close/>
              </a:path>
            </a:pathLst>
          </a:custGeom>
          <a:noFill/>
        </p:spPr>
        <p:txBody>
          <a:bodyPr wrap="square" tIns="612000" bIns="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on icon and insert image</a:t>
            </a:r>
          </a:p>
        </p:txBody>
      </p:sp>
      <p:sp>
        <p:nvSpPr>
          <p:cNvPr id="9" name="Pladsholder til tekst 1"/>
          <p:cNvSpPr>
            <a:spLocks noGrp="1"/>
          </p:cNvSpPr>
          <p:nvPr>
            <p:ph type="body" sz="quarter" idx="13" hasCustomPrompt="1"/>
          </p:nvPr>
        </p:nvSpPr>
        <p:spPr>
          <a:xfrm>
            <a:off x="335756" y="4936804"/>
            <a:ext cx="8861425" cy="999694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85000"/>
              </a:lnSpc>
              <a:buNone/>
              <a:defRPr lang="da-DK" sz="3600" b="0" kern="120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dirty="0"/>
              <a:t>Headline (highlight with red text)</a:t>
            </a:r>
          </a:p>
        </p:txBody>
      </p:sp>
      <p:sp>
        <p:nvSpPr>
          <p:cNvPr id="11" name="Pladsholder til tekst 2"/>
          <p:cNvSpPr>
            <a:spLocks noGrp="1"/>
          </p:cNvSpPr>
          <p:nvPr>
            <p:ph type="body" sz="quarter" idx="15" hasCustomPrompt="1"/>
          </p:nvPr>
        </p:nvSpPr>
        <p:spPr>
          <a:xfrm>
            <a:off x="335756" y="6271200"/>
            <a:ext cx="4591050" cy="212400"/>
          </a:xfrm>
        </p:spPr>
        <p:txBody>
          <a:bodyPr anchor="b" anchorCtr="0"/>
          <a:lstStyle>
            <a:lvl1pPr marL="0" indent="0">
              <a:buNone/>
              <a:defRPr lang="da-DK" sz="1200" b="0" i="0" kern="1200" spc="60" baseline="0" dirty="0" smtClean="0">
                <a:solidFill>
                  <a:schemeClr val="tx1"/>
                </a:solidFill>
                <a:latin typeface="Karbon" panose="02000000000000000000" pitchFamily="2" charset="0"/>
                <a:ea typeface="+mn-ea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Presenters full name, cit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7020000"/>
            <a:ext cx="0" cy="0"/>
          </a:xfrm>
        </p:spPr>
        <p:txBody>
          <a:bodyPr vert="horz" lIns="0" tIns="0" rIns="0" bIns="0" rtlCol="0">
            <a:noAutofit/>
          </a:bodyPr>
          <a:lstStyle>
            <a:lvl1pPr>
              <a:defRPr lang="da-DK" sz="100" b="0" baseline="0" smtClean="0">
                <a:noFill/>
              </a:defRPr>
            </a:lvl1pPr>
          </a:lstStyle>
          <a:p>
            <a:pPr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7020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7020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6C32F758-B665-4BA1-9FF5-2B90572639DA}"/>
              </a:ext>
            </a:extLst>
          </p:cNvPr>
          <p:cNvSpPr/>
          <p:nvPr userDrawn="1"/>
        </p:nvSpPr>
        <p:spPr>
          <a:xfrm rot="16200000">
            <a:off x="10438052" y="-547321"/>
            <a:ext cx="495919" cy="2340462"/>
          </a:xfrm>
          <a:prstGeom prst="triangle">
            <a:avLst>
              <a:gd name="adj" fmla="val 5374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>
              <a:latin typeface="+mj-l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6E7D5D8-D413-41C4-8E55-AF44481457D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756" y="5983288"/>
            <a:ext cx="8861424" cy="2540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Insert sub headline, always grey</a:t>
            </a:r>
          </a:p>
        </p:txBody>
      </p:sp>
    </p:spTree>
    <p:extLst>
      <p:ext uri="{BB962C8B-B14F-4D97-AF65-F5344CB8AC3E}">
        <p14:creationId xmlns:p14="http://schemas.microsoft.com/office/powerpoint/2010/main" val="20066441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Conta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4963" y="713048"/>
            <a:ext cx="11522075" cy="504000"/>
          </a:xfrm>
        </p:spPr>
        <p:txBody>
          <a:bodyPr anchor="t"/>
          <a:lstStyle>
            <a:lvl1pPr>
              <a:defRPr sz="2800" baseline="0"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334963" y="1484312"/>
            <a:ext cx="11522075" cy="45370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C25CA9-3DF4-48FA-B044-7735561D91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291DD0-AF3C-42FA-BBB1-1BBFEA640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33EA52-6882-4950-9C12-7B738AFC1B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24137F5-5F98-4967-A912-C237CA947A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480483"/>
            <a:ext cx="11522076" cy="216000"/>
          </a:xfr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trumpet</a:t>
            </a:r>
          </a:p>
        </p:txBody>
      </p:sp>
    </p:spTree>
    <p:extLst>
      <p:ext uri="{BB962C8B-B14F-4D97-AF65-F5344CB8AC3E}">
        <p14:creationId xmlns:p14="http://schemas.microsoft.com/office/powerpoint/2010/main" val="31134808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idx="1" hasCustomPrompt="1"/>
          </p:nvPr>
        </p:nvSpPr>
        <p:spPr>
          <a:xfrm>
            <a:off x="334964" y="1484312"/>
            <a:ext cx="5651500" cy="45370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idx="14" hasCustomPrompt="1"/>
          </p:nvPr>
        </p:nvSpPr>
        <p:spPr>
          <a:xfrm>
            <a:off x="6207125" y="1484312"/>
            <a:ext cx="5649911" cy="45370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6CCBB8-6ADE-4933-9830-8026F43B557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6C02B3-AFEB-4213-93F1-5CF34B3D7C4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EF0321-3AA7-4C3D-BC2C-36E381773D7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33E1CFF-616A-4523-939E-63BB99ABB7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713048"/>
            <a:ext cx="11522076" cy="504000"/>
          </a:xfrm>
        </p:spPr>
        <p:txBody>
          <a:bodyPr anchor="t"/>
          <a:lstStyle>
            <a:lvl1pPr>
              <a:defRPr sz="2800" baseline="0"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6B52BDE-B53D-426D-AE2F-F8A74FF2CB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1" y="480483"/>
            <a:ext cx="11522077" cy="216000"/>
          </a:xfr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trumpet</a:t>
            </a:r>
          </a:p>
        </p:txBody>
      </p:sp>
    </p:spTree>
    <p:extLst>
      <p:ext uri="{BB962C8B-B14F-4D97-AF65-F5344CB8AC3E}">
        <p14:creationId xmlns:p14="http://schemas.microsoft.com/office/powerpoint/2010/main" val="22053657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9F6B6AE-B90F-468A-AABF-53F037AD2B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80E2286-723B-43B9-A563-19A376DD4D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AF880E-CB9B-44AE-9B36-973717EA9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AEFE4A1-F826-4BED-9CA0-4ECFC1897F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713048"/>
            <a:ext cx="11522075" cy="504000"/>
          </a:xfrm>
        </p:spPr>
        <p:txBody>
          <a:bodyPr anchor="t"/>
          <a:lstStyle>
            <a:lvl1pPr>
              <a:defRPr sz="2800" baseline="0"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20F98E4-1780-455B-BD4C-6D8AD25F3F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480483"/>
            <a:ext cx="11522076" cy="216000"/>
          </a:xfr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trumpet</a:t>
            </a:r>
          </a:p>
        </p:txBody>
      </p:sp>
    </p:spTree>
    <p:extLst>
      <p:ext uri="{BB962C8B-B14F-4D97-AF65-F5344CB8AC3E}">
        <p14:creationId xmlns:p14="http://schemas.microsoft.com/office/powerpoint/2010/main" val="2225022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334964" y="539750"/>
            <a:ext cx="11314110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3200" dirty="0">
                <a:solidFill>
                  <a:schemeClr val="accent1"/>
                </a:solidFill>
              </a:rPr>
              <a:t>User guide (I)– </a:t>
            </a:r>
            <a:r>
              <a:rPr lang="en-GB" sz="3200" dirty="0"/>
              <a:t>delete before use</a:t>
            </a:r>
            <a:endParaRPr lang="en-GB" sz="1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Box 2">
            <a:extLst>
              <a:ext uri="{FF2B5EF4-FFF2-40B4-BE49-F238E27FC236}">
                <a16:creationId xmlns:a16="http://schemas.microsoft.com/office/drawing/2014/main" id="{A6BEA015-E966-4A15-83C4-026B3A368AF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4964" y="1440785"/>
            <a:ext cx="2265575" cy="4539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GB" sz="11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GB" sz="11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11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11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11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11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11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11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1200"/>
              </a:spcAft>
              <a:defRPr/>
            </a:pPr>
            <a:r>
              <a:rPr lang="en-GB" altLang="da-DK" sz="11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11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11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11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11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11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1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11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11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11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11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11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11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insert new sli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altLang="da-DK" sz="11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ose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</a:t>
            </a:r>
            <a:r>
              <a:rPr lang="en-GB" altLang="da-DK" sz="11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11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11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op down</a:t>
            </a:r>
            <a:r>
              <a:rPr lang="en-GB" altLang="da-DK" sz="11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11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menu 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11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11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11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altLang="da-DK" sz="11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11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11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GB" altLang="da-DK" sz="11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Box 3">
            <a:extLst>
              <a:ext uri="{FF2B5EF4-FFF2-40B4-BE49-F238E27FC236}">
                <a16:creationId xmlns:a16="http://schemas.microsoft.com/office/drawing/2014/main" id="{9B46EBC7-A2CB-476B-A412-97975D1EDBF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98494" y="1440785"/>
            <a:ext cx="2160798" cy="4385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icon and choose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view drawing 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, set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ck mark next to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11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ing of guides</a:t>
            </a:r>
            <a:endParaRPr lang="en-GB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4">
            <a:extLst>
              <a:ext uri="{FF2B5EF4-FFF2-40B4-BE49-F238E27FC236}">
                <a16:creationId xmlns:a16="http://schemas.microsoft.com/office/drawing/2014/main" id="{C9BDF7A5-C97A-4550-B857-F78B9805CE8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25241" y="1441972"/>
            <a:ext cx="2160798" cy="224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b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altLang="da-DK" sz="11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To delete all deselect Slide number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4. 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0" name="1 Increase decrease">
            <a:extLst>
              <a:ext uri="{FF2B5EF4-FFF2-40B4-BE49-F238E27FC236}">
                <a16:creationId xmlns:a16="http://schemas.microsoft.com/office/drawing/2014/main" id="{E73B9523-7B92-4F4F-A6D5-96EECD1AAF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32352" y="2246001"/>
            <a:ext cx="575965" cy="251412"/>
          </a:xfrm>
          <a:prstGeom prst="rect">
            <a:avLst/>
          </a:prstGeom>
        </p:spPr>
      </p:pic>
      <p:pic>
        <p:nvPicPr>
          <p:cNvPr id="22" name="2 New picture">
            <a:extLst>
              <a:ext uri="{FF2B5EF4-FFF2-40B4-BE49-F238E27FC236}">
                <a16:creationId xmlns:a16="http://schemas.microsoft.com/office/drawing/2014/main" id="{A09B450D-1418-4592-AECD-C133DD77821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4260" y="3469440"/>
            <a:ext cx="340512" cy="509683"/>
          </a:xfrm>
          <a:prstGeom prst="rect">
            <a:avLst/>
          </a:prstGeom>
        </p:spPr>
      </p:pic>
      <p:pic>
        <p:nvPicPr>
          <p:cNvPr id="24" name="3 Layout">
            <a:extLst>
              <a:ext uri="{FF2B5EF4-FFF2-40B4-BE49-F238E27FC236}">
                <a16:creationId xmlns:a16="http://schemas.microsoft.com/office/drawing/2014/main" id="{0E43F346-3664-476A-B05D-4DE0D33FA7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6944" r="2272" b="69429"/>
          <a:stretch/>
        </p:blipFill>
        <p:spPr>
          <a:xfrm>
            <a:off x="2364351" y="4186669"/>
            <a:ext cx="622140" cy="169423"/>
          </a:xfrm>
          <a:prstGeom prst="rect">
            <a:avLst/>
          </a:prstGeom>
        </p:spPr>
      </p:pic>
      <p:pic>
        <p:nvPicPr>
          <p:cNvPr id="26" name="4 Reset">
            <a:extLst>
              <a:ext uri="{FF2B5EF4-FFF2-40B4-BE49-F238E27FC236}">
                <a16:creationId xmlns:a16="http://schemas.microsoft.com/office/drawing/2014/main" id="{A044E1E7-6640-428A-8165-4DE417225C9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456957" y="4925638"/>
            <a:ext cx="516331" cy="176655"/>
          </a:xfrm>
          <a:prstGeom prst="rect">
            <a:avLst/>
          </a:prstGeom>
        </p:spPr>
      </p:pic>
      <p:pic>
        <p:nvPicPr>
          <p:cNvPr id="27" name="5 Insert picture">
            <a:extLst>
              <a:ext uri="{FF2B5EF4-FFF2-40B4-BE49-F238E27FC236}">
                <a16:creationId xmlns:a16="http://schemas.microsoft.com/office/drawing/2014/main" id="{3A2B661D-749A-43BE-8FCF-C3795545595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25716" y="1682083"/>
            <a:ext cx="262151" cy="256054"/>
          </a:xfrm>
          <a:prstGeom prst="rect">
            <a:avLst/>
          </a:prstGeom>
        </p:spPr>
      </p:pic>
      <p:pic>
        <p:nvPicPr>
          <p:cNvPr id="30" name="6 Crop">
            <a:extLst>
              <a:ext uri="{FF2B5EF4-FFF2-40B4-BE49-F238E27FC236}">
                <a16:creationId xmlns:a16="http://schemas.microsoft.com/office/drawing/2014/main" id="{B763CF1A-0A64-4D48-9C39-A0FDC9677B4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444448" y="2469705"/>
            <a:ext cx="337400" cy="321707"/>
          </a:xfrm>
          <a:prstGeom prst="rect">
            <a:avLst/>
          </a:prstGeom>
        </p:spPr>
      </p:pic>
      <p:pic>
        <p:nvPicPr>
          <p:cNvPr id="31" name="7 Scale picture">
            <a:extLst>
              <a:ext uri="{FF2B5EF4-FFF2-40B4-BE49-F238E27FC236}">
                <a16:creationId xmlns:a16="http://schemas.microsoft.com/office/drawing/2014/main" id="{D95D9D4D-392F-45C5-B306-503B39E8D1F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403103" y="2916070"/>
            <a:ext cx="359695" cy="335309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F75D2839-8D2C-41CE-96CA-C2D4693CA90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925239" y="3946967"/>
            <a:ext cx="3355173" cy="1988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7118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Insert text her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C304944-509C-4A48-A422-33C9A603A5DD}"/>
              </a:ext>
            </a:extLst>
          </p:cNvPr>
          <p:cNvCxnSpPr/>
          <p:nvPr userDrawn="1"/>
        </p:nvCxnSpPr>
        <p:spPr>
          <a:xfrm>
            <a:off x="334800" y="1150113"/>
            <a:ext cx="11523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9BDC19-5855-4B0E-A760-F9B884768F54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334964" y="1484312"/>
            <a:ext cx="11522074" cy="4537075"/>
          </a:xfrm>
        </p:spPr>
        <p:txBody>
          <a:bodyPr/>
          <a:lstStyle>
            <a:lvl1pPr marL="180000" indent="-180000"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60000">
              <a:defRPr>
                <a:solidFill>
                  <a:schemeClr val="tx1"/>
                </a:solidFill>
              </a:defRPr>
            </a:lvl3pPr>
            <a:lvl4pPr marL="360000" indent="-180000">
              <a:buSzPct val="100000"/>
              <a:buFont typeface="+mj-lt"/>
              <a:buAutoNum type="alphaLcPeriod"/>
              <a:defRPr sz="1800">
                <a:solidFill>
                  <a:schemeClr val="accent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984572-B560-446D-A6AA-ED5FC29D6D77}"/>
              </a:ext>
            </a:extLst>
          </p:cNvPr>
          <p:cNvSpPr>
            <a:spLocks noGrp="1"/>
          </p:cNvSpPr>
          <p:nvPr>
            <p:ph type="dt" sz="half" idx="6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838CA-3E93-4D34-B880-11888D17B07A}"/>
              </a:ext>
            </a:extLst>
          </p:cNvPr>
          <p:cNvSpPr>
            <a:spLocks noGrp="1"/>
          </p:cNvSpPr>
          <p:nvPr>
            <p:ph type="ftr" sz="quarter" idx="6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B35E9D-3BFC-4C19-8C98-E656481DB63D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6375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731" userDrawn="1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(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ast overskrift"/>
          <p:cNvSpPr txBox="1"/>
          <p:nvPr userDrawn="1"/>
        </p:nvSpPr>
        <p:spPr>
          <a:xfrm>
            <a:off x="338910" y="539750"/>
            <a:ext cx="11285112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3200" dirty="0">
                <a:solidFill>
                  <a:schemeClr val="accent1"/>
                </a:solidFill>
              </a:rPr>
              <a:t>User guide (II)– </a:t>
            </a:r>
            <a:r>
              <a:rPr lang="en-GB" sz="3200" dirty="0"/>
              <a:t>delete before use</a:t>
            </a:r>
            <a:endParaRPr lang="en-GB" sz="3200" b="0" noProof="1">
              <a:solidFill>
                <a:schemeClr val="tx1"/>
              </a:solidFill>
              <a:latin typeface="Karbon Medium" pitchFamily="2" charset="0"/>
              <a:cs typeface="Arial" panose="020B06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021462C-2714-43D2-9D2D-C678C7A52A99}"/>
              </a:ext>
            </a:extLst>
          </p:cNvPr>
          <p:cNvGrpSpPr/>
          <p:nvPr userDrawn="1"/>
        </p:nvGrpSpPr>
        <p:grpSpPr>
          <a:xfrm>
            <a:off x="2828925" y="3267075"/>
            <a:ext cx="1333500" cy="681456"/>
            <a:chOff x="7080492" y="3874394"/>
            <a:chExt cx="3226862" cy="1820585"/>
          </a:xfrm>
        </p:grpSpPr>
        <p:graphicFrame>
          <p:nvGraphicFramePr>
            <p:cNvPr id="18" name="Object 17">
              <a:extLst>
                <a:ext uri="{FF2B5EF4-FFF2-40B4-BE49-F238E27FC236}">
                  <a16:creationId xmlns:a16="http://schemas.microsoft.com/office/drawing/2014/main" id="{98028920-C4B0-432C-A49F-8AE647C884A5}"/>
                </a:ext>
              </a:extLst>
            </p:cNvPr>
            <p:cNvGraphicFramePr>
              <a:graphicFrameLocks/>
            </p:cNvGraphicFramePr>
            <p:nvPr>
              <p:custDataLst>
                <p:tags r:id="rId1"/>
              </p:custDataLst>
              <p:extLst>
                <p:ext uri="{D42A27DB-BD31-4B8C-83A1-F6EECF244321}">
                  <p14:modId xmlns:p14="http://schemas.microsoft.com/office/powerpoint/2010/main" val="3760996798"/>
                </p:ext>
              </p:extLst>
            </p:nvPr>
          </p:nvGraphicFramePr>
          <p:xfrm>
            <a:off x="7080492" y="3874394"/>
            <a:ext cx="3226862" cy="157077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hart" r:id="rId3" imgW="4753115" imgH="2905125" progId="MSGraph.Chart.8">
                    <p:embed followColorScheme="full"/>
                  </p:oleObj>
                </mc:Choice>
                <mc:Fallback>
                  <p:oleObj name="Chart" r:id="rId3" imgW="4753115" imgH="2905125" progId="MSGraph.Chart.8">
                    <p:embed followColorScheme="full"/>
                    <p:pic>
                      <p:nvPicPr>
                        <p:cNvPr id="18" name="Object 17">
                          <a:extLst>
                            <a:ext uri="{FF2B5EF4-FFF2-40B4-BE49-F238E27FC236}">
                              <a16:creationId xmlns:a16="http://schemas.microsoft.com/office/drawing/2014/main" id="{98028920-C4B0-432C-A49F-8AE647C884A5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4"/>
                        <a:stretch>
                          <a:fillRect/>
                        </a:stretch>
                      </p:blipFill>
                      <p:spPr>
                        <a:xfrm>
                          <a:off x="7080492" y="3874394"/>
                          <a:ext cx="3226862" cy="1570778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B87D420-B9B7-42A6-AD2E-C9DF5682E838}"/>
                </a:ext>
              </a:extLst>
            </p:cNvPr>
            <p:cNvSpPr txBox="1"/>
            <p:nvPr/>
          </p:nvSpPr>
          <p:spPr>
            <a:xfrm>
              <a:off x="9388232" y="5438774"/>
              <a:ext cx="666752" cy="2466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600" dirty="0">
                  <a:solidFill>
                    <a:schemeClr val="tx1"/>
                  </a:solidFill>
                </a:rPr>
                <a:t>Budget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850144C-862D-4949-A65F-178C15797422}"/>
                </a:ext>
              </a:extLst>
            </p:cNvPr>
            <p:cNvSpPr txBox="1"/>
            <p:nvPr/>
          </p:nvSpPr>
          <p:spPr>
            <a:xfrm>
              <a:off x="8401049" y="5438774"/>
              <a:ext cx="666752" cy="2466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600" dirty="0">
                  <a:solidFill>
                    <a:schemeClr val="tx1"/>
                  </a:solidFill>
                </a:rPr>
                <a:t>2019 YTD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D1B19E74-32F6-44E4-B564-8E6D0768A856}"/>
                </a:ext>
              </a:extLst>
            </p:cNvPr>
            <p:cNvSpPr txBox="1"/>
            <p:nvPr/>
          </p:nvSpPr>
          <p:spPr>
            <a:xfrm>
              <a:off x="7348720" y="5448301"/>
              <a:ext cx="666752" cy="2466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600" dirty="0">
                  <a:solidFill>
                    <a:schemeClr val="tx1"/>
                  </a:solidFill>
                </a:rPr>
                <a:t>2018</a:t>
              </a:r>
            </a:p>
          </p:txBody>
        </p:sp>
      </p:grpSp>
      <p:sp>
        <p:nvSpPr>
          <p:cNvPr id="27" name="Text Box 3">
            <a:extLst>
              <a:ext uri="{FF2B5EF4-FFF2-40B4-BE49-F238E27FC236}">
                <a16:creationId xmlns:a16="http://schemas.microsoft.com/office/drawing/2014/main" id="{8865F0DD-895A-4D89-AF81-7E001F17DF6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031894" y="1465837"/>
            <a:ext cx="2160798" cy="4939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ing trademarks</a:t>
            </a:r>
            <a:endParaRPr lang="en-GB" sz="1100" b="1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11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lease refer to the trademark overview on the </a:t>
            </a: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Shape Intranet </a:t>
            </a:r>
            <a:r>
              <a:rPr lang="en-GB" sz="11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the latest trademark registration status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sz="1100" noProof="1">
                <a:latin typeface="+mn-lt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3shapedental.sharepoint.com/Pages/About%20Us/Our%20company/CVI.aspx</a:t>
            </a:r>
            <a:endParaRPr lang="en-GB" sz="1100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1100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1100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1100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1100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1100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1100" b="1" noProof="1">
                <a:latin typeface="+mn-lt"/>
                <a:cs typeface="Arial" panose="020B0604020202020204" pitchFamily="34" charset="0"/>
              </a:rPr>
              <a:t>Trademark attribution not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sz="1100" noProof="1">
                <a:latin typeface="+mn-lt"/>
                <a:cs typeface="Arial" panose="020B0604020202020204" pitchFamily="34" charset="0"/>
              </a:rPr>
              <a:t>Please complete the trademark attribution note on the final slide by inserting the country the presentation is targeted to. 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sz="1100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1100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1100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1100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02EAFD41-99C9-4BDC-BC4B-8298FFE813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28125"/>
          <a:stretch/>
        </p:blipFill>
        <p:spPr>
          <a:xfrm>
            <a:off x="4772025" y="5592763"/>
            <a:ext cx="5506897" cy="42862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B1B5BE7-32DE-4DA0-954C-507B03F7BD03}"/>
              </a:ext>
            </a:extLst>
          </p:cNvPr>
          <p:cNvSpPr/>
          <p:nvPr userDrawn="1"/>
        </p:nvSpPr>
        <p:spPr>
          <a:xfrm>
            <a:off x="363961" y="1426072"/>
            <a:ext cx="2160798" cy="39395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indent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anagement Reporting</a:t>
            </a:r>
          </a:p>
          <a:p>
            <a:pPr marL="0" indent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3Shape reporting color palette in Think Cell to create reports for Management.  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1100" noProof="1">
                <a:solidFill>
                  <a:schemeClr val="tx1"/>
                </a:solidFill>
                <a:latin typeface="Karbon Medium" pitchFamily="2" charset="0"/>
                <a:cs typeface="Arial" panose="020B0604020202020204" pitchFamily="34" charset="0"/>
              </a:rPr>
              <a:t>Please follow the guidance below: 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sz="1100" b="1" dirty="0">
                <a:latin typeface="+mn-lt"/>
              </a:rPr>
              <a:t>1. </a:t>
            </a:r>
            <a:r>
              <a:rPr lang="en-GB" sz="1100" dirty="0">
                <a:latin typeface="+mn-lt"/>
              </a:rPr>
              <a:t>Always use the Yellow for displaying the </a:t>
            </a:r>
            <a:r>
              <a:rPr lang="en-GB" sz="1100" b="1" dirty="0">
                <a:latin typeface="+mn-lt"/>
              </a:rPr>
              <a:t>Budget</a:t>
            </a:r>
            <a:r>
              <a:rPr lang="en-GB" sz="1100" dirty="0">
                <a:latin typeface="+mn-lt"/>
              </a:rPr>
              <a:t> </a:t>
            </a:r>
          </a:p>
          <a:p>
            <a:pPr marL="0" indent="0">
              <a:buNone/>
            </a:pPr>
            <a:r>
              <a:rPr lang="en-GB" sz="1100" b="1" dirty="0">
                <a:latin typeface="+mn-lt"/>
              </a:rPr>
              <a:t>2. </a:t>
            </a:r>
            <a:r>
              <a:rPr lang="en-GB" sz="1100" dirty="0">
                <a:latin typeface="+mn-lt"/>
              </a:rPr>
              <a:t>Always use the Blue for the </a:t>
            </a:r>
            <a:r>
              <a:rPr lang="en-GB" sz="1100" b="1" dirty="0">
                <a:latin typeface="+mn-lt"/>
              </a:rPr>
              <a:t>YTD or “current year” numbers</a:t>
            </a:r>
          </a:p>
          <a:p>
            <a:pPr marL="0" indent="0">
              <a:buNone/>
            </a:pPr>
            <a:r>
              <a:rPr lang="en-GB" sz="1100" b="1" dirty="0">
                <a:latin typeface="+mn-lt"/>
              </a:rPr>
              <a:t>3. </a:t>
            </a:r>
            <a:r>
              <a:rPr lang="en-GB" sz="1100" dirty="0">
                <a:latin typeface="+mn-lt"/>
              </a:rPr>
              <a:t>Always start with the earliest year/month to the left and the latest year/month to the right </a:t>
            </a:r>
          </a:p>
          <a:p>
            <a:pPr marL="0" indent="0">
              <a:buNone/>
            </a:pPr>
            <a:r>
              <a:rPr lang="en-GB" sz="1100" b="1" dirty="0">
                <a:latin typeface="+mn-lt"/>
              </a:rPr>
              <a:t>4. </a:t>
            </a:r>
            <a:r>
              <a:rPr lang="en-GB" sz="1100" dirty="0">
                <a:latin typeface="+mn-lt"/>
              </a:rPr>
              <a:t>The Budget is always placed on the right side of the graph</a:t>
            </a:r>
          </a:p>
          <a:p>
            <a:pPr marL="180975" indent="-180975">
              <a:buFont typeface="+mj-lt"/>
              <a:buAutoNum type="arabicPeriod"/>
            </a:pPr>
            <a:endParaRPr lang="en-GB" sz="1100" dirty="0">
              <a:latin typeface="+mn-lt"/>
            </a:endParaRPr>
          </a:p>
          <a:p>
            <a:pPr marL="180975" indent="-180975">
              <a:buFont typeface="+mj-lt"/>
              <a:buAutoNum type="arabicPeriod"/>
            </a:pPr>
            <a:endParaRPr lang="en-GB" sz="1100" dirty="0">
              <a:latin typeface="+mn-lt"/>
            </a:endParaRPr>
          </a:p>
          <a:p>
            <a:pPr marL="0" indent="0">
              <a:buNone/>
            </a:pPr>
            <a:endParaRPr lang="en-GB" sz="1100" dirty="0">
              <a:latin typeface="+mn-lt"/>
            </a:endParaRPr>
          </a:p>
          <a:p>
            <a:pPr marL="228600" indent="-228600" eaLnBrk="1" hangingPunct="1">
              <a:spcAft>
                <a:spcPts val="600"/>
              </a:spcAft>
              <a:buAutoNum type="arabicPeriod"/>
              <a:defRPr/>
            </a:pPr>
            <a:endParaRPr lang="en-GB" sz="11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11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11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567C8A5-9739-42D0-B1C1-98A039AC7A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398" t="220" r="43192" b="69787"/>
          <a:stretch/>
        </p:blipFill>
        <p:spPr>
          <a:xfrm>
            <a:off x="2942312" y="1528006"/>
            <a:ext cx="872759" cy="129048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B40F6BE-D9F0-45D7-877B-C79E2BA58D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t="1351" r="1420" b="583"/>
          <a:stretch/>
        </p:blipFill>
        <p:spPr>
          <a:xfrm>
            <a:off x="7661852" y="1528006"/>
            <a:ext cx="3437730" cy="3275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91845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334963" y="1484312"/>
            <a:ext cx="11522075" cy="45370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3205675-C682-4FE3-8C45-CED7167A53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332C556-51F6-4E87-B9DD-13D1180B2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57D1B2A-EF78-4291-A9B4-CB54EF358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Pladsholder til logo">
            <a:extLst>
              <a:ext uri="{FF2B5EF4-FFF2-40B4-BE49-F238E27FC236}">
                <a16:creationId xmlns:a16="http://schemas.microsoft.com/office/drawing/2014/main" id="{E321BC96-7F23-4802-A4B7-A88AEC6D03F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341437" y="6194836"/>
            <a:ext cx="1515600" cy="316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214979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pt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BC4E0B-0DFA-4797-B3CC-A9FCF260B7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83F81E-815A-4A25-8778-C303806868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9A2FA0-5B50-43BF-BC5A-1B9F867EB4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Pladsholder til logo">
            <a:extLst>
              <a:ext uri="{FF2B5EF4-FFF2-40B4-BE49-F238E27FC236}">
                <a16:creationId xmlns:a16="http://schemas.microsoft.com/office/drawing/2014/main" id="{5E2EA42E-2B37-4CDF-B213-65A0769B51E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341437" y="6194836"/>
            <a:ext cx="1515600" cy="316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070101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ark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billede 1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7999"/>
          </a:xfrm>
          <a:solidFill>
            <a:schemeClr val="accent2"/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on icon and insert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4965" y="646113"/>
            <a:ext cx="5540055" cy="504000"/>
          </a:xfrm>
        </p:spPr>
        <p:txBody>
          <a:bodyPr anchor="b" anchorCtr="0"/>
          <a:lstStyle>
            <a:lvl1pPr>
              <a:lnSpc>
                <a:spcPct val="92000"/>
              </a:lnSpc>
              <a:defRPr sz="3600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Pladsholder til logo"/>
          <p:cNvSpPr>
            <a:spLocks noGrp="1"/>
          </p:cNvSpPr>
          <p:nvPr>
            <p:ph type="body" sz="quarter" idx="20" hasCustomPrompt="1"/>
          </p:nvPr>
        </p:nvSpPr>
        <p:spPr>
          <a:xfrm>
            <a:off x="10341437" y="6194836"/>
            <a:ext cx="1515600" cy="316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9"/>
          </p:nvPr>
        </p:nvSpPr>
        <p:spPr>
          <a:xfrm>
            <a:off x="334963" y="6332146"/>
            <a:ext cx="637445" cy="15040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Pladsholder til sidefod 6" hidden="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4DFF1B4-2ED2-4368-A357-B77B054CAE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4963" y="1478822"/>
            <a:ext cx="5540055" cy="4537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49403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billede 1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95000"/>
            </a:schemeClr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GB" dirty="0"/>
              <a:t>Click on icon and insert image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34965" y="646113"/>
            <a:ext cx="5540056" cy="504000"/>
          </a:xfrm>
        </p:spPr>
        <p:txBody>
          <a:bodyPr anchor="b" anchorCtr="0"/>
          <a:lstStyle>
            <a:lvl1pPr>
              <a:lnSpc>
                <a:spcPct val="92000"/>
              </a:lnSpc>
              <a:defRPr sz="3600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2" name="Pladsholder til tekst 17"/>
          <p:cNvSpPr>
            <a:spLocks noGrp="1"/>
          </p:cNvSpPr>
          <p:nvPr>
            <p:ph type="body" sz="quarter" idx="21" hasCustomPrompt="1"/>
          </p:nvPr>
        </p:nvSpPr>
        <p:spPr>
          <a:xfrm>
            <a:off x="334964" y="1484313"/>
            <a:ext cx="5540056" cy="42354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9"/>
          </p:nvPr>
        </p:nvSpPr>
        <p:spPr>
          <a:xfrm>
            <a:off x="334963" y="6332146"/>
            <a:ext cx="637445" cy="15040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Pladsholder til sidefod 6" hidden="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Pladsholder til logo"/>
          <p:cNvSpPr>
            <a:spLocks noGrp="1"/>
          </p:cNvSpPr>
          <p:nvPr>
            <p:ph type="body" sz="quarter" idx="22" hasCustomPrompt="1"/>
          </p:nvPr>
        </p:nvSpPr>
        <p:spPr>
          <a:xfrm>
            <a:off x="10341437" y="6194836"/>
            <a:ext cx="1515600" cy="316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354880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334963" y="1484312"/>
            <a:ext cx="11522075" cy="45370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3205675-C682-4FE3-8C45-CED7167A53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332C556-51F6-4E87-B9DD-13D1180B2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57D1B2A-EF78-4291-A9B4-CB54EF358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4070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idx="1" hasCustomPrompt="1"/>
          </p:nvPr>
        </p:nvSpPr>
        <p:spPr>
          <a:xfrm>
            <a:off x="334964" y="1484312"/>
            <a:ext cx="5651500" cy="45370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idx="14" hasCustomPrompt="1"/>
          </p:nvPr>
        </p:nvSpPr>
        <p:spPr>
          <a:xfrm>
            <a:off x="6207125" y="1484312"/>
            <a:ext cx="5649913" cy="45370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6CCBB8-6ADE-4933-9830-8026F43B557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6C02B3-AFEB-4213-93F1-5CF34B3D7C4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EF0321-3AA7-4C3D-BC2C-36E381773D7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4067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idx="16" hasCustomPrompt="1"/>
          </p:nvPr>
        </p:nvSpPr>
        <p:spPr>
          <a:xfrm>
            <a:off x="4286250" y="1484312"/>
            <a:ext cx="7570787" cy="45370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idx="15" hasCustomPrompt="1"/>
          </p:nvPr>
        </p:nvSpPr>
        <p:spPr>
          <a:xfrm>
            <a:off x="334963" y="1484312"/>
            <a:ext cx="3729437" cy="45370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159325-0834-4920-AD0A-1B7CEF9A774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5E2650-2042-4D09-825B-B7BBF82381B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D704AA-7FDE-46E9-9EBB-44C807D46DB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79623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E35DF87-4E64-4365-BE69-BF91128F3AE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4963" y="1483200"/>
            <a:ext cx="5706953" cy="4536000"/>
          </a:xfrm>
        </p:spPr>
        <p:txBody>
          <a:bodyPr/>
          <a:lstStyle>
            <a:lvl5pPr>
              <a:defRPr/>
            </a:lvl5pPr>
            <a:lvl6pPr>
              <a:buNone/>
              <a:defRPr/>
            </a:lvl6pPr>
            <a:lvl7pPr>
              <a:buNone/>
              <a:defRPr/>
            </a:lvl7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idx="15" hasCustomPrompt="1"/>
          </p:nvPr>
        </p:nvSpPr>
        <p:spPr>
          <a:xfrm>
            <a:off x="6221917" y="1484314"/>
            <a:ext cx="2727559" cy="453707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idx="17" hasCustomPrompt="1"/>
          </p:nvPr>
        </p:nvSpPr>
        <p:spPr>
          <a:xfrm>
            <a:off x="9129477" y="1484314"/>
            <a:ext cx="2727560" cy="453707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4ACC8-3610-448B-B56E-215618D9BF2E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DAC297F-B095-432A-A68D-AFAE9668DD6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F1818C7-69C7-4667-9696-7C8F074C8A6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83406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A4A2D8E-6B11-4767-88A1-EA7CB7EF6B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4191683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95" imgH="394" progId="TCLayout.ActiveDocument.1">
                  <p:embed/>
                </p:oleObj>
              </mc:Choice>
              <mc:Fallback>
                <p:oleObj name="think-cell Slide" r:id="rId36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A4A2D8E-6B11-4767-88A1-EA7CB7EF6B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4453EEE-07F2-42CF-921A-AA1E4A0F3055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0" i="0" baseline="0" dirty="0" err="1">
              <a:latin typeface="Karbon Light" panose="02000000000000000000" pitchFamily="2" charset="0"/>
              <a:ea typeface="+mj-ea"/>
              <a:cs typeface="+mj-cs"/>
              <a:sym typeface="Karbon Light" panose="02000000000000000000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3" y="646113"/>
            <a:ext cx="11522075" cy="50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dirty="0"/>
              <a:t>Highlight parts in the 3Shape Re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963" y="1473902"/>
            <a:ext cx="11522075" cy="4540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Level 1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pic>
        <p:nvPicPr>
          <p:cNvPr id="7" name="Logo"/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1438" y="6193862"/>
            <a:ext cx="1515600" cy="317774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29600" y="6318000"/>
            <a:ext cx="3740400" cy="1548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4963" y="6325200"/>
            <a:ext cx="637445" cy="1504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50" b="0">
                <a:solidFill>
                  <a:schemeClr val="tx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2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352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661" r:id="rId2"/>
    <p:sldLayoutId id="2147483727" r:id="rId3"/>
    <p:sldLayoutId id="2147483715" r:id="rId4"/>
    <p:sldLayoutId id="2147483721" r:id="rId5"/>
    <p:sldLayoutId id="2147483650" r:id="rId6"/>
    <p:sldLayoutId id="2147483676" r:id="rId7"/>
    <p:sldLayoutId id="2147483672" r:id="rId8"/>
    <p:sldLayoutId id="2147483714" r:id="rId9"/>
    <p:sldLayoutId id="2147483700" r:id="rId10"/>
    <p:sldLayoutId id="2147483675" r:id="rId11"/>
    <p:sldLayoutId id="2147483701" r:id="rId12"/>
    <p:sldLayoutId id="2147483702" r:id="rId13"/>
    <p:sldLayoutId id="2147483719" r:id="rId14"/>
    <p:sldLayoutId id="2147483720" r:id="rId15"/>
    <p:sldLayoutId id="2147483704" r:id="rId16"/>
    <p:sldLayoutId id="2147483708" r:id="rId17"/>
    <p:sldLayoutId id="2147483677" r:id="rId18"/>
    <p:sldLayoutId id="2147483703" r:id="rId19"/>
    <p:sldLayoutId id="2147483680" r:id="rId20"/>
    <p:sldLayoutId id="2147483706" r:id="rId21"/>
    <p:sldLayoutId id="2147483722" r:id="rId22"/>
    <p:sldLayoutId id="2147483713" r:id="rId23"/>
    <p:sldLayoutId id="2147483712" r:id="rId24"/>
    <p:sldLayoutId id="2147483732" r:id="rId25"/>
    <p:sldLayoutId id="2147483728" r:id="rId26"/>
    <p:sldLayoutId id="2147483729" r:id="rId27"/>
    <p:sldLayoutId id="2147483730" r:id="rId28"/>
    <p:sldLayoutId id="2147483717" r:id="rId29"/>
    <p:sldLayoutId id="2147483718" r:id="rId30"/>
    <p:sldLayoutId id="2147483735" r:id="rId31"/>
    <p:sldLayoutId id="2147483736" r:id="rId32"/>
  </p:sldLayoutIdLst>
  <p:hf hdr="0" dt="0"/>
  <p:txStyles>
    <p:titleStyle>
      <a:lvl1pPr algn="l" defTabSz="914400" rtl="0" eaLnBrk="1" latinLnBrk="0" hangingPunct="1">
        <a:lnSpc>
          <a:spcPct val="81000"/>
        </a:lnSpc>
        <a:spcBef>
          <a:spcPct val="0"/>
        </a:spcBef>
        <a:buNone/>
        <a:defRPr sz="3600" b="0" kern="1200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600"/>
        </a:spcBef>
        <a:buSzPct val="80000"/>
        <a:buFont typeface="Arial" panose="020B0604020202020204" pitchFamily="34" charset="0"/>
        <a:buChar char="•"/>
        <a:defRPr sz="2400" b="0" i="0" kern="1200" baseline="0">
          <a:solidFill>
            <a:schemeClr val="accent2"/>
          </a:solidFill>
          <a:latin typeface="+mj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600"/>
        </a:spcBef>
        <a:buSzPct val="80000"/>
        <a:buFont typeface="Arial" panose="020B0604020202020204" pitchFamily="34" charset="0"/>
        <a:buChar char="•"/>
        <a:defRPr sz="2000" kern="1200" baseline="0">
          <a:solidFill>
            <a:schemeClr val="accent2"/>
          </a:solidFill>
          <a:latin typeface="+mj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600"/>
        </a:spcBef>
        <a:buFont typeface="+mj-lt"/>
        <a:buAutoNum type="alphaLcPeriod"/>
        <a:defRPr sz="1800" kern="1200">
          <a:solidFill>
            <a:schemeClr val="accent2"/>
          </a:solidFill>
          <a:latin typeface="+mj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600"/>
        </a:spcBef>
        <a:buSzPct val="60000"/>
        <a:buFont typeface="Arial" panose="020B0604020202020204" pitchFamily="34" charset="0"/>
        <a:buChar char="•"/>
        <a:defRPr sz="1600" kern="1200">
          <a:solidFill>
            <a:schemeClr val="accent2"/>
          </a:solidFill>
          <a:latin typeface="+mj-lt"/>
          <a:ea typeface="+mn-ea"/>
          <a:cs typeface="+mn-cs"/>
        </a:defRPr>
      </a:lvl4pPr>
      <a:lvl5pPr marL="0" indent="0" algn="l" defTabSz="9017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​"/>
        <a:defRPr sz="2400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​"/>
        <a:defRPr sz="2000" kern="1200" baseline="0">
          <a:solidFill>
            <a:schemeClr val="accent2"/>
          </a:solidFill>
          <a:latin typeface="+mj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​"/>
        <a:defRPr sz="5600" kern="1200">
          <a:solidFill>
            <a:schemeClr val="accent1"/>
          </a:solidFill>
          <a:latin typeface="+mj-lt"/>
          <a:ea typeface="+mn-ea"/>
          <a:cs typeface="+mn-cs"/>
        </a:defRPr>
      </a:lvl7pPr>
      <a:lvl8pPr marL="0" indent="-180000" algn="l" defTabSz="914400" rtl="0" eaLnBrk="1" latinLnBrk="0" hangingPunct="1">
        <a:lnSpc>
          <a:spcPct val="90000"/>
        </a:lnSpc>
        <a:spcBef>
          <a:spcPts val="600"/>
        </a:spcBef>
        <a:buFont typeface="+mj-lt"/>
        <a:buAutoNum type="arabicPeriod"/>
        <a:defRPr sz="10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-180000" algn="l" defTabSz="914400" rtl="0" eaLnBrk="1" latinLnBrk="0" hangingPunct="1">
        <a:lnSpc>
          <a:spcPct val="90000"/>
        </a:lnSpc>
        <a:spcBef>
          <a:spcPts val="600"/>
        </a:spcBef>
        <a:buFont typeface="+mj-lt"/>
        <a:buAutoNum type="alphaLcParenR"/>
        <a:defRPr sz="1000" b="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 userDrawn="1">
          <p15:clr>
            <a:srgbClr val="F26B43"/>
          </p15:clr>
        </p15:guide>
        <p15:guide id="2" pos="7469" userDrawn="1">
          <p15:clr>
            <a:srgbClr val="F26B43"/>
          </p15:clr>
        </p15:guide>
        <p15:guide id="4" orient="horz" pos="935" userDrawn="1">
          <p15:clr>
            <a:srgbClr val="F26B43"/>
          </p15:clr>
        </p15:guide>
        <p15:guide id="5" orient="horz" pos="37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26" Type="http://schemas.openxmlformats.org/officeDocument/2006/relationships/image" Target="../media/image37.jpeg"/><Relationship Id="rId3" Type="http://schemas.openxmlformats.org/officeDocument/2006/relationships/slideLayout" Target="../slideLayouts/slideLayout21.xml"/><Relationship Id="rId21" Type="http://schemas.openxmlformats.org/officeDocument/2006/relationships/image" Target="../media/image32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5" Type="http://schemas.openxmlformats.org/officeDocument/2006/relationships/image" Target="../media/image36.png"/><Relationship Id="rId2" Type="http://schemas.openxmlformats.org/officeDocument/2006/relationships/tags" Target="../tags/tag6.xml"/><Relationship Id="rId16" Type="http://schemas.openxmlformats.org/officeDocument/2006/relationships/image" Target="../media/image27.png"/><Relationship Id="rId20" Type="http://schemas.openxmlformats.org/officeDocument/2006/relationships/image" Target="../media/image31.png"/><Relationship Id="rId29" Type="http://schemas.openxmlformats.org/officeDocument/2006/relationships/hyperlink" Target="https://3shapedental.sharepoint.com/Pages/About%20Us/Our%20company/CVI.aspx" TargetMode="External"/><Relationship Id="rId1" Type="http://schemas.openxmlformats.org/officeDocument/2006/relationships/tags" Target="../tags/tag5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24" Type="http://schemas.openxmlformats.org/officeDocument/2006/relationships/image" Target="../media/image35.png"/><Relationship Id="rId5" Type="http://schemas.openxmlformats.org/officeDocument/2006/relationships/image" Target="../media/image16.emf"/><Relationship Id="rId15" Type="http://schemas.openxmlformats.org/officeDocument/2006/relationships/image" Target="../media/image26.png"/><Relationship Id="rId23" Type="http://schemas.openxmlformats.org/officeDocument/2006/relationships/image" Target="../media/image34.png"/><Relationship Id="rId28" Type="http://schemas.openxmlformats.org/officeDocument/2006/relationships/hyperlink" Target="file:///\\dk-srv-fil-01\Marketing\Corporate%20Marketing\3Shape%20Brand%20Guidelines" TargetMode="External"/><Relationship Id="rId10" Type="http://schemas.openxmlformats.org/officeDocument/2006/relationships/image" Target="../media/image21.png"/><Relationship Id="rId19" Type="http://schemas.openxmlformats.org/officeDocument/2006/relationships/image" Target="../media/image30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0.png"/><Relationship Id="rId14" Type="http://schemas.openxmlformats.org/officeDocument/2006/relationships/image" Target="../media/image25.png"/><Relationship Id="rId22" Type="http://schemas.openxmlformats.org/officeDocument/2006/relationships/image" Target="../media/image33.png"/><Relationship Id="rId27" Type="http://schemas.openxmlformats.org/officeDocument/2006/relationships/image" Target="../media/image3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9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6.emf"/><Relationship Id="rId11" Type="http://schemas.openxmlformats.org/officeDocument/2006/relationships/image" Target="../media/image43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42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8.xml"/><Relationship Id="rId5" Type="http://schemas.openxmlformats.org/officeDocument/2006/relationships/image" Target="../media/image60.jpe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9.xml"/><Relationship Id="rId5" Type="http://schemas.openxmlformats.org/officeDocument/2006/relationships/image" Target="../media/image61.jpeg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0.xml"/><Relationship Id="rId5" Type="http://schemas.openxmlformats.org/officeDocument/2006/relationships/image" Target="../media/image62.jpeg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1.xml"/><Relationship Id="rId5" Type="http://schemas.openxmlformats.org/officeDocument/2006/relationships/image" Target="../media/image63.jpg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2.xml"/><Relationship Id="rId5" Type="http://schemas.openxmlformats.org/officeDocument/2006/relationships/image" Target="../media/image64.jpg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6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7.xml"/><Relationship Id="rId5" Type="http://schemas.openxmlformats.org/officeDocument/2006/relationships/image" Target="../media/image68.jpg"/><Relationship Id="rId4" Type="http://schemas.openxmlformats.org/officeDocument/2006/relationships/image" Target="../media/image1.emf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47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4" Type="http://schemas.openxmlformats.org/officeDocument/2006/relationships/image" Target="../media/image4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AC5A476F-7142-468A-9CB7-C9F9ED0C5D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AC5A476F-7142-468A-9CB7-C9F9ED0C5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F8A19D5-4D19-4F6E-A756-F5B13D4C5F77}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1</a:t>
            </a:fld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EAE60C7-93C1-41D9-9529-A221F40A52D8}"/>
              </a:ext>
            </a:extLst>
          </p:cNvPr>
          <p:cNvGrpSpPr/>
          <p:nvPr/>
        </p:nvGrpSpPr>
        <p:grpSpPr>
          <a:xfrm>
            <a:off x="523336" y="1186734"/>
            <a:ext cx="3565585" cy="2217254"/>
            <a:chOff x="523336" y="1186734"/>
            <a:chExt cx="3565585" cy="2217254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36F8600-598B-45D5-8D12-13BCEBBF4AC9}"/>
                </a:ext>
              </a:extLst>
            </p:cNvPr>
            <p:cNvSpPr txBox="1"/>
            <p:nvPr/>
          </p:nvSpPr>
          <p:spPr>
            <a:xfrm>
              <a:off x="523336" y="1536361"/>
              <a:ext cx="3565585" cy="1867627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pPr algn="l"/>
              <a:endParaRPr lang="en-DK" dirty="0" err="1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" name="Text Placeholder 7">
              <a:extLst>
                <a:ext uri="{FF2B5EF4-FFF2-40B4-BE49-F238E27FC236}">
                  <a16:creationId xmlns:a16="http://schemas.microsoft.com/office/drawing/2014/main" id="{7653F8E3-4DBA-4CF0-ABC7-37B1054D3A8F}"/>
                </a:ext>
              </a:extLst>
            </p:cNvPr>
            <p:cNvSpPr txBox="1">
              <a:spLocks/>
            </p:cNvSpPr>
            <p:nvPr/>
          </p:nvSpPr>
          <p:spPr>
            <a:xfrm>
              <a:off x="603966" y="1186734"/>
              <a:ext cx="3344266" cy="223329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SzPct val="80000"/>
                <a:buFont typeface="Arial" panose="020B0604020202020204" pitchFamily="34" charset="0"/>
                <a:buChar char="​"/>
                <a:defRPr sz="1400" b="0" i="0" kern="1200" baseline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  <a:defRPr sz="2000" kern="1200" baseline="0">
                  <a:solidFill>
                    <a:schemeClr val="accent2"/>
                  </a:solidFill>
                  <a:latin typeface="+mj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+mj-lt"/>
                <a:buAutoNum type="alphaLcPeriod"/>
                <a:defRPr sz="1800" kern="1200">
                  <a:solidFill>
                    <a:schemeClr val="accent2"/>
                  </a:solidFill>
                  <a:latin typeface="+mj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SzPct val="60000"/>
                <a:buFont typeface="Arial" panose="020B0604020202020204" pitchFamily="34" charset="0"/>
                <a:buChar char="•"/>
                <a:defRPr sz="1600" kern="1200">
                  <a:solidFill>
                    <a:schemeClr val="accent2"/>
                  </a:solidFill>
                  <a:latin typeface="+mj-lt"/>
                  <a:ea typeface="+mn-ea"/>
                  <a:cs typeface="+mn-cs"/>
                </a:defRPr>
              </a:lvl4pPr>
              <a:lvl5pPr marL="0" indent="0" algn="l" defTabSz="9017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2400" kern="1200" baseline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2000" kern="1200" baseline="0">
                  <a:solidFill>
                    <a:schemeClr val="accent2"/>
                  </a:solidFill>
                  <a:latin typeface="+mj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5600" kern="120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7pPr>
              <a:lvl8pPr marL="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+mj-lt"/>
                <a:buAutoNum type="arabicPeriod"/>
                <a:defRPr sz="1000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8pPr>
              <a:lvl9pPr marL="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+mj-lt"/>
                <a:buAutoNum type="alphaLcParenR"/>
                <a:defRPr sz="1000" b="0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 dirty="0"/>
                <a:t>Triangle</a:t>
              </a:r>
              <a:endParaRPr lang="en-DK" sz="2000" dirty="0"/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9A42DF28-AB91-4646-8BF7-5A4339EA57B2}"/>
                </a:ext>
              </a:extLst>
            </p:cNvPr>
            <p:cNvCxnSpPr>
              <a:cxnSpLocks/>
            </p:cNvCxnSpPr>
            <p:nvPr/>
          </p:nvCxnSpPr>
          <p:spPr>
            <a:xfrm>
              <a:off x="2129371" y="1484826"/>
              <a:ext cx="257518" cy="0"/>
            </a:xfrm>
            <a:prstGeom prst="line">
              <a:avLst/>
            </a:prstGeom>
            <a:ln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Isosceles Triangle 31">
              <a:extLst>
                <a:ext uri="{FF2B5EF4-FFF2-40B4-BE49-F238E27FC236}">
                  <a16:creationId xmlns:a16="http://schemas.microsoft.com/office/drawing/2014/main" id="{BD1D003D-3F20-4CDA-A84E-B9F993318F0F}"/>
                </a:ext>
              </a:extLst>
            </p:cNvPr>
            <p:cNvSpPr/>
            <p:nvPr/>
          </p:nvSpPr>
          <p:spPr>
            <a:xfrm rot="16200000">
              <a:off x="1987914" y="1102180"/>
              <a:ext cx="682999" cy="2773916"/>
            </a:xfrm>
            <a:prstGeom prst="triangle">
              <a:avLst>
                <a:gd name="adj" fmla="val 55319"/>
              </a:avLst>
            </a:prstGeom>
            <a:solidFill>
              <a:srgbClr val="D71249"/>
            </a:solidFill>
            <a:ln>
              <a:solidFill>
                <a:srgbClr val="D712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DK" dirty="0" err="1">
                <a:latin typeface="+mj-lt"/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090BFC1D-EE2A-4E8D-926E-A1B0ECBCB4FD}"/>
              </a:ext>
            </a:extLst>
          </p:cNvPr>
          <p:cNvGrpSpPr/>
          <p:nvPr/>
        </p:nvGrpSpPr>
        <p:grpSpPr>
          <a:xfrm>
            <a:off x="4259565" y="1183007"/>
            <a:ext cx="3565585" cy="2220980"/>
            <a:chOff x="4259565" y="1183007"/>
            <a:chExt cx="3565585" cy="2220980"/>
          </a:xfrm>
          <a:noFill/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20A16C06-0806-43A2-8C39-342C67AB74F8}"/>
                </a:ext>
              </a:extLst>
            </p:cNvPr>
            <p:cNvSpPr txBox="1"/>
            <p:nvPr/>
          </p:nvSpPr>
          <p:spPr>
            <a:xfrm>
              <a:off x="4259565" y="1536360"/>
              <a:ext cx="3565585" cy="1867627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pPr algn="l"/>
              <a:endParaRPr lang="en-DK" dirty="0" err="1">
                <a:solidFill>
                  <a:schemeClr val="tx1"/>
                </a:solidFill>
                <a:latin typeface="+mj-lt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0F182225-9A5F-4756-BD15-BA937B27AD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2557" t="9871" r="3131" b="8848"/>
            <a:stretch/>
          </p:blipFill>
          <p:spPr>
            <a:xfrm>
              <a:off x="7273642" y="1716492"/>
              <a:ext cx="432204" cy="1567182"/>
            </a:xfrm>
            <a:prstGeom prst="rect">
              <a:avLst/>
            </a:prstGeom>
            <a:grpFill/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833E46D3-AE8A-491E-B132-3E77B36865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5209" t="14576" r="70360" b="30747"/>
            <a:stretch/>
          </p:blipFill>
          <p:spPr>
            <a:xfrm>
              <a:off x="5089530" y="1744717"/>
              <a:ext cx="1085991" cy="1551863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53AEE8CD-B8D9-4D6A-8F7E-958D449110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4020" t="63187" r="37158" b="5349"/>
            <a:stretch/>
          </p:blipFill>
          <p:spPr>
            <a:xfrm>
              <a:off x="6221374" y="2580345"/>
              <a:ext cx="1014783" cy="707351"/>
            </a:xfrm>
            <a:prstGeom prst="rect">
              <a:avLst/>
            </a:prstGeom>
            <a:grpFill/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C8FC499F-7554-402C-9332-6CF8E42C994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87573" y="1744717"/>
              <a:ext cx="656104" cy="1551863"/>
            </a:xfrm>
            <a:prstGeom prst="rect">
              <a:avLst/>
            </a:prstGeom>
            <a:grpFill/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440C7AB7-FEDE-4999-B7A6-B8E74D2C5E3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221374" y="1716492"/>
              <a:ext cx="1003819" cy="699688"/>
            </a:xfrm>
            <a:prstGeom prst="rect">
              <a:avLst/>
            </a:prstGeom>
            <a:grpFill/>
          </p:spPr>
        </p:pic>
        <p:sp>
          <p:nvSpPr>
            <p:cNvPr id="40" name="Text Placeholder 7">
              <a:extLst>
                <a:ext uri="{FF2B5EF4-FFF2-40B4-BE49-F238E27FC236}">
                  <a16:creationId xmlns:a16="http://schemas.microsoft.com/office/drawing/2014/main" id="{AA347663-E7CA-436D-8F60-745DCC92ED32}"/>
                </a:ext>
              </a:extLst>
            </p:cNvPr>
            <p:cNvSpPr txBox="1">
              <a:spLocks/>
            </p:cNvSpPr>
            <p:nvPr/>
          </p:nvSpPr>
          <p:spPr>
            <a:xfrm>
              <a:off x="4361580" y="1183007"/>
              <a:ext cx="3344266" cy="223329"/>
            </a:xfrm>
            <a:prstGeom prst="rect">
              <a:avLst/>
            </a:prstGeom>
            <a:grpFill/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SzPct val="80000"/>
                <a:buFont typeface="Arial" panose="020B0604020202020204" pitchFamily="34" charset="0"/>
                <a:buChar char="​"/>
                <a:defRPr sz="1400" b="0" i="0" kern="1200" baseline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  <a:defRPr sz="2000" kern="1200" baseline="0">
                  <a:solidFill>
                    <a:schemeClr val="accent2"/>
                  </a:solidFill>
                  <a:latin typeface="+mj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+mj-lt"/>
                <a:buAutoNum type="alphaLcPeriod"/>
                <a:defRPr sz="1800" kern="1200">
                  <a:solidFill>
                    <a:schemeClr val="accent2"/>
                  </a:solidFill>
                  <a:latin typeface="+mj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SzPct val="60000"/>
                <a:buFont typeface="Arial" panose="020B0604020202020204" pitchFamily="34" charset="0"/>
                <a:buChar char="•"/>
                <a:defRPr sz="1600" kern="1200">
                  <a:solidFill>
                    <a:schemeClr val="accent2"/>
                  </a:solidFill>
                  <a:latin typeface="+mj-lt"/>
                  <a:ea typeface="+mn-ea"/>
                  <a:cs typeface="+mn-cs"/>
                </a:defRPr>
              </a:lvl4pPr>
              <a:lvl5pPr marL="0" indent="0" algn="l" defTabSz="9017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2400" kern="1200" baseline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2000" kern="1200" baseline="0">
                  <a:solidFill>
                    <a:schemeClr val="accent2"/>
                  </a:solidFill>
                  <a:latin typeface="+mj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5600" kern="120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7pPr>
              <a:lvl8pPr marL="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+mj-lt"/>
                <a:buAutoNum type="arabicPeriod"/>
                <a:defRPr sz="1000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8pPr>
              <a:lvl9pPr marL="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+mj-lt"/>
                <a:buAutoNum type="alphaLcParenR"/>
                <a:defRPr sz="1000" b="0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 dirty="0"/>
                <a:t>Triangle positioning </a:t>
              </a:r>
              <a:endParaRPr lang="en-DK" sz="2000" dirty="0"/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3149CBB2-FB3C-4DC7-B831-18AD95BC18B3}"/>
                </a:ext>
              </a:extLst>
            </p:cNvPr>
            <p:cNvCxnSpPr>
              <a:cxnSpLocks/>
            </p:cNvCxnSpPr>
            <p:nvPr/>
          </p:nvCxnSpPr>
          <p:spPr>
            <a:xfrm>
              <a:off x="5886985" y="1481099"/>
              <a:ext cx="257518" cy="0"/>
            </a:xfrm>
            <a:prstGeom prst="line">
              <a:avLst/>
            </a:prstGeom>
            <a:grpFill/>
            <a:ln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D2B9EB80-9362-4A62-8AC8-28731E479920}"/>
              </a:ext>
            </a:extLst>
          </p:cNvPr>
          <p:cNvGrpSpPr/>
          <p:nvPr/>
        </p:nvGrpSpPr>
        <p:grpSpPr>
          <a:xfrm>
            <a:off x="523336" y="3792758"/>
            <a:ext cx="3565585" cy="2253093"/>
            <a:chOff x="7989131" y="1150893"/>
            <a:chExt cx="3565585" cy="2253093"/>
          </a:xfrm>
          <a:noFill/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2BFD00A-8E00-4EF3-9171-B343DFDCE345}"/>
                </a:ext>
              </a:extLst>
            </p:cNvPr>
            <p:cNvSpPr txBox="1"/>
            <p:nvPr/>
          </p:nvSpPr>
          <p:spPr>
            <a:xfrm>
              <a:off x="7989131" y="1536359"/>
              <a:ext cx="3565585" cy="1867627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pPr algn="l"/>
              <a:endParaRPr lang="en-DK" dirty="0" err="1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4" name="Text Placeholder 7">
              <a:extLst>
                <a:ext uri="{FF2B5EF4-FFF2-40B4-BE49-F238E27FC236}">
                  <a16:creationId xmlns:a16="http://schemas.microsoft.com/office/drawing/2014/main" id="{61F693AC-A0C9-43B5-9659-4B7B1A8149A7}"/>
                </a:ext>
              </a:extLst>
            </p:cNvPr>
            <p:cNvSpPr txBox="1">
              <a:spLocks/>
            </p:cNvSpPr>
            <p:nvPr/>
          </p:nvSpPr>
          <p:spPr>
            <a:xfrm>
              <a:off x="8059187" y="1150893"/>
              <a:ext cx="3344266" cy="223329"/>
            </a:xfrm>
            <a:prstGeom prst="rect">
              <a:avLst/>
            </a:prstGeom>
            <a:grpFill/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SzPct val="80000"/>
                <a:buFont typeface="Arial" panose="020B0604020202020204" pitchFamily="34" charset="0"/>
                <a:buChar char="​"/>
                <a:defRPr sz="1400" b="0" i="0" kern="1200" baseline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  <a:defRPr sz="2000" kern="1200" baseline="0">
                  <a:solidFill>
                    <a:schemeClr val="accent2"/>
                  </a:solidFill>
                  <a:latin typeface="+mj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+mj-lt"/>
                <a:buAutoNum type="alphaLcPeriod"/>
                <a:defRPr sz="1800" kern="1200">
                  <a:solidFill>
                    <a:schemeClr val="accent2"/>
                  </a:solidFill>
                  <a:latin typeface="+mj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SzPct val="60000"/>
                <a:buFont typeface="Arial" panose="020B0604020202020204" pitchFamily="34" charset="0"/>
                <a:buChar char="•"/>
                <a:defRPr sz="1600" kern="1200">
                  <a:solidFill>
                    <a:schemeClr val="accent2"/>
                  </a:solidFill>
                  <a:latin typeface="+mj-lt"/>
                  <a:ea typeface="+mn-ea"/>
                  <a:cs typeface="+mn-cs"/>
                </a:defRPr>
              </a:lvl4pPr>
              <a:lvl5pPr marL="0" indent="0" algn="l" defTabSz="9017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2400" kern="1200" baseline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2000" kern="1200" baseline="0">
                  <a:solidFill>
                    <a:schemeClr val="accent2"/>
                  </a:solidFill>
                  <a:latin typeface="+mj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5600" kern="120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7pPr>
              <a:lvl8pPr marL="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+mj-lt"/>
                <a:buAutoNum type="arabicPeriod"/>
                <a:defRPr sz="1000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8pPr>
              <a:lvl9pPr marL="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+mj-lt"/>
                <a:buAutoNum type="alphaLcParenR"/>
                <a:defRPr sz="1000" b="0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 dirty="0" err="1"/>
                <a:t>Templafy</a:t>
              </a:r>
              <a:r>
                <a:rPr lang="en-US" sz="2000" dirty="0"/>
                <a:t> a new add-in</a:t>
              </a:r>
              <a:endParaRPr lang="en-DK" sz="2000" dirty="0"/>
            </a:p>
          </p:txBody>
        </p: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B6A97CD6-3408-40A1-94DD-15E65F03F3EC}"/>
                </a:ext>
              </a:extLst>
            </p:cNvPr>
            <p:cNvCxnSpPr>
              <a:cxnSpLocks/>
            </p:cNvCxnSpPr>
            <p:nvPr/>
          </p:nvCxnSpPr>
          <p:spPr>
            <a:xfrm>
              <a:off x="9584592" y="1448985"/>
              <a:ext cx="257518" cy="0"/>
            </a:xfrm>
            <a:prstGeom prst="line">
              <a:avLst/>
            </a:prstGeom>
            <a:grpFill/>
            <a:ln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TextBox 67">
            <a:extLst>
              <a:ext uri="{FF2B5EF4-FFF2-40B4-BE49-F238E27FC236}">
                <a16:creationId xmlns:a16="http://schemas.microsoft.com/office/drawing/2014/main" id="{B4070340-629B-4B0E-97BE-58F860FC5396}"/>
              </a:ext>
            </a:extLst>
          </p:cNvPr>
          <p:cNvSpPr txBox="1"/>
          <p:nvPr/>
        </p:nvSpPr>
        <p:spPr>
          <a:xfrm>
            <a:off x="7995794" y="1536360"/>
            <a:ext cx="3565585" cy="184665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US" sz="2000" dirty="0">
              <a:solidFill>
                <a:schemeClr val="tx1"/>
              </a:solidFill>
              <a:latin typeface="+mj-lt"/>
            </a:endParaRPr>
          </a:p>
          <a:p>
            <a:pPr algn="l"/>
            <a:endParaRPr lang="en-US" sz="2000" dirty="0">
              <a:latin typeface="+mj-lt"/>
            </a:endParaRPr>
          </a:p>
          <a:p>
            <a:pPr algn="l"/>
            <a:endParaRPr lang="en-US" sz="2000" dirty="0">
              <a:solidFill>
                <a:schemeClr val="tx1"/>
              </a:solidFill>
              <a:latin typeface="+mj-lt"/>
            </a:endParaRPr>
          </a:p>
          <a:p>
            <a:pPr algn="l"/>
            <a:endParaRPr lang="en-US" sz="2000" dirty="0">
              <a:latin typeface="+mj-lt"/>
            </a:endParaRPr>
          </a:p>
          <a:p>
            <a:pPr algn="l"/>
            <a:endParaRPr lang="en-US" sz="2000" dirty="0">
              <a:solidFill>
                <a:schemeClr val="tx1"/>
              </a:solidFill>
              <a:latin typeface="+mj-lt"/>
            </a:endParaRPr>
          </a:p>
          <a:p>
            <a:pPr algn="l"/>
            <a:endParaRPr lang="en-DK" sz="2000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A3F8BE6F-A1A5-489A-8174-9E3D55606AC0}"/>
              </a:ext>
            </a:extLst>
          </p:cNvPr>
          <p:cNvSpPr txBox="1">
            <a:spLocks/>
          </p:cNvSpPr>
          <p:nvPr/>
        </p:nvSpPr>
        <p:spPr>
          <a:xfrm>
            <a:off x="8106454" y="1177904"/>
            <a:ext cx="3344266" cy="223329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​"/>
              <a:defRPr sz="1400" b="0" i="0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20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+mj-lt"/>
              <a:buAutoNum type="alphaLcPeriod"/>
              <a:defRPr sz="180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60000"/>
              <a:buFont typeface="Arial" panose="020B0604020202020204" pitchFamily="34" charset="0"/>
              <a:buChar char="•"/>
              <a:defRPr sz="160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0" indent="0" algn="l" defTabSz="9017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24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5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+mj-lt"/>
              <a:buAutoNum type="arabicPeriod"/>
              <a:defRPr sz="1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+mj-lt"/>
              <a:buAutoNum type="alphaLcParenR"/>
              <a:defRPr sz="1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/>
              <a:t>Corporate stationary</a:t>
            </a:r>
            <a:endParaRPr lang="en-DK" sz="2000" dirty="0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BDBC58A5-7A07-4300-AD75-EF0A37B9784D}"/>
              </a:ext>
            </a:extLst>
          </p:cNvPr>
          <p:cNvCxnSpPr>
            <a:cxnSpLocks/>
          </p:cNvCxnSpPr>
          <p:nvPr/>
        </p:nvCxnSpPr>
        <p:spPr>
          <a:xfrm>
            <a:off x="9631859" y="1475996"/>
            <a:ext cx="257518" cy="0"/>
          </a:xfrm>
          <a:prstGeom prst="line">
            <a:avLst/>
          </a:prstGeom>
          <a:noFill/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AB12B05-5011-436C-A6D5-4051245FF3BD}"/>
              </a:ext>
            </a:extLst>
          </p:cNvPr>
          <p:cNvGrpSpPr/>
          <p:nvPr/>
        </p:nvGrpSpPr>
        <p:grpSpPr>
          <a:xfrm>
            <a:off x="8106454" y="1620238"/>
            <a:ext cx="1486972" cy="1486972"/>
            <a:chOff x="8361229" y="3205704"/>
            <a:chExt cx="1591032" cy="1591032"/>
          </a:xfrm>
          <a:noFill/>
        </p:grpSpPr>
        <p:pic>
          <p:nvPicPr>
            <p:cNvPr id="9236" name="Picture 20" descr="Risultati immagini per computer mac png">
              <a:extLst>
                <a:ext uri="{FF2B5EF4-FFF2-40B4-BE49-F238E27FC236}">
                  <a16:creationId xmlns:a16="http://schemas.microsoft.com/office/drawing/2014/main" id="{5E4154A4-A9CB-4565-AEFE-8BBEE2ECE4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1229" y="3205704"/>
              <a:ext cx="1591032" cy="1591032"/>
            </a:xfrm>
            <a:prstGeom prst="rect">
              <a:avLst/>
            </a:prstGeom>
            <a:grpFill/>
          </p:spPr>
        </p:pic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2EAD093F-4C29-4471-AAB6-6E526B4F6D9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495080" y="3450360"/>
              <a:ext cx="1330281" cy="749969"/>
            </a:xfrm>
            <a:prstGeom prst="rect">
              <a:avLst/>
            </a:prstGeom>
            <a:grpFill/>
          </p:spPr>
        </p:pic>
      </p:grpSp>
      <p:sp>
        <p:nvSpPr>
          <p:cNvPr id="81" name="TextBox 80">
            <a:extLst>
              <a:ext uri="{FF2B5EF4-FFF2-40B4-BE49-F238E27FC236}">
                <a16:creationId xmlns:a16="http://schemas.microsoft.com/office/drawing/2014/main" id="{A14BC735-1171-4044-B721-77C35ED85B18}"/>
              </a:ext>
            </a:extLst>
          </p:cNvPr>
          <p:cNvSpPr txBox="1"/>
          <p:nvPr/>
        </p:nvSpPr>
        <p:spPr>
          <a:xfrm>
            <a:off x="8128618" y="2951842"/>
            <a:ext cx="13983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+mj-lt"/>
              </a:rPr>
              <a:t>3Shape Power Point </a:t>
            </a:r>
            <a:endParaRPr lang="en-DK" sz="1200" dirty="0" err="1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7F4CB190-8189-446D-B705-57CB6AF2864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156907" y="1808964"/>
            <a:ext cx="768792" cy="1085794"/>
          </a:xfrm>
          <a:prstGeom prst="rect">
            <a:avLst/>
          </a:prstGeom>
          <a:noFill/>
          <a:ln>
            <a:solidFill>
              <a:schemeClr val="tx1">
                <a:lumMod val="60000"/>
                <a:lumOff val="40000"/>
              </a:schemeClr>
            </a:solidFill>
          </a:ln>
        </p:spPr>
      </p:pic>
      <p:sp>
        <p:nvSpPr>
          <p:cNvPr id="87" name="TextBox 86">
            <a:extLst>
              <a:ext uri="{FF2B5EF4-FFF2-40B4-BE49-F238E27FC236}">
                <a16:creationId xmlns:a16="http://schemas.microsoft.com/office/drawing/2014/main" id="{1922899B-496F-4076-847C-D96EC7349DB5}"/>
              </a:ext>
            </a:extLst>
          </p:cNvPr>
          <p:cNvSpPr txBox="1"/>
          <p:nvPr/>
        </p:nvSpPr>
        <p:spPr>
          <a:xfrm>
            <a:off x="9854933" y="2955536"/>
            <a:ext cx="13983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+mj-lt"/>
              </a:rPr>
              <a:t>3Shape word </a:t>
            </a:r>
            <a:endParaRPr lang="en-DK" sz="1200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7B9E027-092F-459D-8BD0-FD01B9504D03}"/>
              </a:ext>
            </a:extLst>
          </p:cNvPr>
          <p:cNvSpPr txBox="1"/>
          <p:nvPr/>
        </p:nvSpPr>
        <p:spPr>
          <a:xfrm>
            <a:off x="322851" y="410097"/>
            <a:ext cx="1128468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3600" dirty="0">
                <a:solidFill>
                  <a:schemeClr val="tx1"/>
                </a:solidFill>
                <a:latin typeface="+mj-lt"/>
              </a:rPr>
              <a:t>Overview of the </a:t>
            </a:r>
            <a:r>
              <a:rPr lang="en-US" sz="3600" dirty="0">
                <a:solidFill>
                  <a:srgbClr val="C8143C"/>
                </a:solidFill>
                <a:latin typeface="+mj-lt"/>
              </a:rPr>
              <a:t>NEW Brand Guidelines </a:t>
            </a:r>
            <a:r>
              <a:rPr lang="en-US" sz="3600" dirty="0">
                <a:latin typeface="+mj-lt"/>
              </a:rPr>
              <a:t>main updates </a:t>
            </a:r>
            <a:endParaRPr lang="en-DK" sz="3600" dirty="0" err="1">
              <a:latin typeface="+mj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0005D4F-8CD9-4AA2-8C06-00C38411AE35}"/>
              </a:ext>
            </a:extLst>
          </p:cNvPr>
          <p:cNvGrpSpPr/>
          <p:nvPr/>
        </p:nvGrpSpPr>
        <p:grpSpPr>
          <a:xfrm>
            <a:off x="4259564" y="3713108"/>
            <a:ext cx="3565585" cy="2332743"/>
            <a:chOff x="517734" y="3713109"/>
            <a:chExt cx="3565585" cy="2332743"/>
          </a:xfrm>
          <a:noFill/>
        </p:grpSpPr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CF5206C6-2E00-4F23-9F2D-29A58779F222}"/>
                </a:ext>
              </a:extLst>
            </p:cNvPr>
            <p:cNvGrpSpPr/>
            <p:nvPr/>
          </p:nvGrpSpPr>
          <p:grpSpPr>
            <a:xfrm>
              <a:off x="517734" y="3713109"/>
              <a:ext cx="3565585" cy="2332743"/>
              <a:chOff x="517734" y="3713109"/>
              <a:chExt cx="3565585" cy="2332743"/>
            </a:xfrm>
            <a:grpFill/>
          </p:grpSpPr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12418306-26DC-4B08-9ECC-CD70553700B7}"/>
                  </a:ext>
                </a:extLst>
              </p:cNvPr>
              <p:cNvGrpSpPr/>
              <p:nvPr/>
            </p:nvGrpSpPr>
            <p:grpSpPr>
              <a:xfrm>
                <a:off x="517734" y="4178225"/>
                <a:ext cx="3565585" cy="1867627"/>
                <a:chOff x="523335" y="2786899"/>
                <a:chExt cx="3565585" cy="1867627"/>
              </a:xfrm>
              <a:grpFill/>
            </p:grpSpPr>
            <p:sp>
              <p:nvSpPr>
                <p:cNvPr id="43" name="TextBox 42">
                  <a:extLst>
                    <a:ext uri="{FF2B5EF4-FFF2-40B4-BE49-F238E27FC236}">
                      <a16:creationId xmlns:a16="http://schemas.microsoft.com/office/drawing/2014/main" id="{21359450-BC9D-4CF6-A15F-A479D1E110B6}"/>
                    </a:ext>
                  </a:extLst>
                </p:cNvPr>
                <p:cNvSpPr txBox="1"/>
                <p:nvPr/>
              </p:nvSpPr>
              <p:spPr>
                <a:xfrm>
                  <a:off x="523335" y="2786899"/>
                  <a:ext cx="3565585" cy="1867627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endParaRPr lang="en-DK" dirty="0" err="1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pic>
              <p:nvPicPr>
                <p:cNvPr id="9223" name="Picture 7" descr="https://public-v2links.adobecc.com/bb606ed8-c9a4-4550-4e5b-817defe32198/component?params=component_id:eb9c5e11-b9d1-47ed-bb4b-99f6ebdc9455&amp;params=version:2&amp;token=1569068505_da39a3ee_99bce2e4e030fcd490648a15cb10714cf9115a79&amp;api_key=CometServer1">
                  <a:extLst>
                    <a:ext uri="{FF2B5EF4-FFF2-40B4-BE49-F238E27FC236}">
                      <a16:creationId xmlns:a16="http://schemas.microsoft.com/office/drawing/2014/main" id="{915CB765-C94A-4A9D-BDF1-AB9D5B5C6EA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799659" y="3245877"/>
                  <a:ext cx="336154" cy="315144"/>
                </a:xfrm>
                <a:prstGeom prst="rect">
                  <a:avLst/>
                </a:prstGeom>
                <a:grpFill/>
              </p:spPr>
            </p:pic>
            <p:pic>
              <p:nvPicPr>
                <p:cNvPr id="9225" name="Picture 9" descr="https://public-v2links.adobecc.com/bb606ed8-c9a4-4550-4e5b-817defe32198/component?params=component_id:3289b619-f9a3-47d7-a748-56db1ddf008d&amp;params=version:2&amp;token=1569068505_da39a3ee_99bce2e4e030fcd490648a15cb10714cf9115a79&amp;api_key=CometServer1">
                  <a:extLst>
                    <a:ext uri="{FF2B5EF4-FFF2-40B4-BE49-F238E27FC236}">
                      <a16:creationId xmlns:a16="http://schemas.microsoft.com/office/drawing/2014/main" id="{1A89AA57-17F3-4191-B989-2C6525D4AF5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47910" y="4081281"/>
                  <a:ext cx="425445" cy="252116"/>
                </a:xfrm>
                <a:prstGeom prst="rect">
                  <a:avLst/>
                </a:prstGeom>
                <a:grpFill/>
              </p:spPr>
            </p:pic>
            <p:pic>
              <p:nvPicPr>
                <p:cNvPr id="9227" name="Picture 11" descr="https://public-v2links.adobecc.com/bb606ed8-c9a4-4550-4e5b-817defe32198/component?params=component_id:5f3f0b21-be30-4e3f-aaf8-20fd794ccc79&amp;params=version:1&amp;token=1569068505_da39a3ee_99bce2e4e030fcd490648a15cb10714cf9115a79&amp;api_key=CometServer1">
                  <a:extLst>
                    <a:ext uri="{FF2B5EF4-FFF2-40B4-BE49-F238E27FC236}">
                      <a16:creationId xmlns:a16="http://schemas.microsoft.com/office/drawing/2014/main" id="{D18DAA04-EAEC-488E-ADD7-3F4121FC078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270232" y="3974008"/>
                  <a:ext cx="336154" cy="362416"/>
                </a:xfrm>
                <a:prstGeom prst="rect">
                  <a:avLst/>
                </a:prstGeom>
                <a:grpFill/>
              </p:spPr>
            </p:pic>
            <p:pic>
              <p:nvPicPr>
                <p:cNvPr id="9229" name="Picture 13" descr="https://public-v2links.adobecc.com/bb606ed8-c9a4-4550-4e5b-817defe32198/component?params=component_id:f92981f8-4d75-4bd0-97e5-350d438beea9&amp;params=version:2&amp;token=1569068505_da39a3ee_99bce2e4e030fcd490648a15cb10714cf9115a79&amp;api_key=CometServer1">
                  <a:extLst>
                    <a:ext uri="{FF2B5EF4-FFF2-40B4-BE49-F238E27FC236}">
                      <a16:creationId xmlns:a16="http://schemas.microsoft.com/office/drawing/2014/main" id="{6F52A98C-9B7C-446D-9842-3C21217BA1A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238718" y="3235372"/>
                  <a:ext cx="399183" cy="336154"/>
                </a:xfrm>
                <a:prstGeom prst="rect">
                  <a:avLst/>
                </a:prstGeom>
                <a:grpFill/>
              </p:spPr>
            </p:pic>
            <p:pic>
              <p:nvPicPr>
                <p:cNvPr id="9231" name="Picture 15" descr="https://public-v2links.adobecc.com/bb606ed8-c9a4-4550-4e5b-817defe32198/component?params=component_id:083c5901-6110-4914-bc21-690ad4b88cb0&amp;params=version:2&amp;token=1569068505_da39a3ee_99bce2e4e030fcd490648a15cb10714cf9115a79&amp;api_key=CometServer1">
                  <a:extLst>
                    <a:ext uri="{FF2B5EF4-FFF2-40B4-BE49-F238E27FC236}">
                      <a16:creationId xmlns:a16="http://schemas.microsoft.com/office/drawing/2014/main" id="{2926878E-CFA8-4A9B-A854-3BB4552149E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799659" y="3935087"/>
                  <a:ext cx="320397" cy="372921"/>
                </a:xfrm>
                <a:prstGeom prst="rect">
                  <a:avLst/>
                </a:prstGeom>
                <a:grpFill/>
              </p:spPr>
            </p:pic>
            <p:pic>
              <p:nvPicPr>
                <p:cNvPr id="9233" name="Picture 17" descr="https://public-v2links.adobecc.com/bb606ed8-c9a4-4550-4e5b-817defe32198/component?params=component_id:ed5706d4-b902-412b-81ea-1f878523b207&amp;params=version:2&amp;token=1569068505_da39a3ee_99bce2e4e030fcd490648a15cb10714cf9115a79&amp;api_key=CometServer1">
                  <a:extLst>
                    <a:ext uri="{FF2B5EF4-FFF2-40B4-BE49-F238E27FC236}">
                      <a16:creationId xmlns:a16="http://schemas.microsoft.com/office/drawing/2014/main" id="{244A8FDC-42DD-4EB9-8A1E-54874184979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51205" y="3203858"/>
                  <a:ext cx="362416" cy="399183"/>
                </a:xfrm>
                <a:prstGeom prst="rect">
                  <a:avLst/>
                </a:prstGeom>
                <a:grpFill/>
              </p:spPr>
            </p:pic>
          </p:grpSp>
          <p:sp>
            <p:nvSpPr>
              <p:cNvPr id="56" name="Text Placeholder 7">
                <a:extLst>
                  <a:ext uri="{FF2B5EF4-FFF2-40B4-BE49-F238E27FC236}">
                    <a16:creationId xmlns:a16="http://schemas.microsoft.com/office/drawing/2014/main" id="{A665B902-AE8D-46C6-BB25-E5AE0CA2AB8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65887" y="3713109"/>
                <a:ext cx="3344266" cy="223329"/>
              </a:xfrm>
              <a:prstGeom prst="rect">
                <a:avLst/>
              </a:prstGeom>
              <a:grpFill/>
            </p:spPr>
            <p:txBody>
              <a:bodyPr vert="horz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SzPct val="80000"/>
                  <a:buFont typeface="Arial" panose="020B0604020202020204" pitchFamily="34" charset="0"/>
                  <a:buChar char="​"/>
                  <a:defRPr sz="1400" b="0" i="0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1pPr>
                <a:lvl2pPr marL="360000" indent="-180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SzPct val="80000"/>
                  <a:buFont typeface="Arial" panose="020B0604020202020204" pitchFamily="34" charset="0"/>
                  <a:buChar char="•"/>
                  <a:defRPr sz="2000" kern="1200" baseline="0">
                    <a:solidFill>
                      <a:schemeClr val="accent2"/>
                    </a:solidFill>
                    <a:latin typeface="+mj-lt"/>
                    <a:ea typeface="+mn-ea"/>
                    <a:cs typeface="+mn-cs"/>
                  </a:defRPr>
                </a:lvl2pPr>
                <a:lvl3pPr marL="540000" indent="-180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+mj-lt"/>
                  <a:buAutoNum type="alphaLcPeriod"/>
                  <a:defRPr sz="1800" kern="1200">
                    <a:solidFill>
                      <a:schemeClr val="accent2"/>
                    </a:solidFill>
                    <a:latin typeface="+mj-lt"/>
                    <a:ea typeface="+mn-ea"/>
                    <a:cs typeface="+mn-cs"/>
                  </a:defRPr>
                </a:lvl3pPr>
                <a:lvl4pPr marL="720000" indent="-180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SzPct val="60000"/>
                  <a:buFont typeface="Arial" panose="020B0604020202020204" pitchFamily="34" charset="0"/>
                  <a:buChar char="•"/>
                  <a:defRPr sz="1600" kern="1200">
                    <a:solidFill>
                      <a:schemeClr val="accent2"/>
                    </a:solidFill>
                    <a:latin typeface="+mj-lt"/>
                    <a:ea typeface="+mn-ea"/>
                    <a:cs typeface="+mn-cs"/>
                  </a:defRPr>
                </a:lvl4pPr>
                <a:lvl5pPr marL="0" indent="0" algn="l" defTabSz="9017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2400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lvl5pPr>
                <a:lvl6pPr marL="0" indent="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2000" kern="1200" baseline="0">
                    <a:solidFill>
                      <a:schemeClr val="accent2"/>
                    </a:solidFill>
                    <a:latin typeface="+mj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5600" kern="120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lvl7pPr>
                <a:lvl8pPr marL="0" indent="-180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+mj-lt"/>
                  <a:buAutoNum type="arabicPeriod"/>
                  <a:defRPr sz="1000" kern="120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-180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+mj-lt"/>
                  <a:buAutoNum type="alphaLcParenR"/>
                  <a:defRPr sz="1000" b="0" kern="120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2000" dirty="0"/>
                  <a:t>Iconography</a:t>
                </a:r>
                <a:endParaRPr lang="en-DK" sz="2000" dirty="0"/>
              </a:p>
            </p:txBody>
          </p: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F8331F2E-3B25-4CCB-8076-ACDE512BD11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91292" y="4011201"/>
                <a:ext cx="257518" cy="0"/>
              </a:xfrm>
              <a:prstGeom prst="line">
                <a:avLst/>
              </a:prstGeom>
              <a:grpFill/>
              <a:ln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B5874793-ECA5-48E0-8B12-7500F93C36F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13492" y="4595184"/>
              <a:ext cx="392882" cy="392882"/>
            </a:xfrm>
            <a:prstGeom prst="rect">
              <a:avLst/>
            </a:prstGeom>
            <a:grpFill/>
          </p:spPr>
        </p:pic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7B774B80-71E5-4CCC-9C3A-0449A0964F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85884" y="5306565"/>
              <a:ext cx="392882" cy="392882"/>
            </a:xfrm>
            <a:prstGeom prst="rect">
              <a:avLst/>
            </a:prstGeom>
            <a:grpFill/>
          </p:spPr>
        </p:pic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32689005-906E-483C-AB19-EF97CE4AC2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85884" y="4595184"/>
              <a:ext cx="392882" cy="392882"/>
            </a:xfrm>
            <a:prstGeom prst="rect">
              <a:avLst/>
            </a:prstGeom>
            <a:grpFill/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8F32C358-6B4F-4D86-AC92-C7CA7FDE79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28883" y="5306565"/>
              <a:ext cx="392882" cy="392882"/>
            </a:xfrm>
            <a:prstGeom prst="rect">
              <a:avLst/>
            </a:prstGeom>
            <a:grpFill/>
          </p:spPr>
        </p:pic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AB66DCCC-D1FF-4054-9F5C-88F839CDFA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25401" y="4595184"/>
              <a:ext cx="392882" cy="392882"/>
            </a:xfrm>
            <a:prstGeom prst="rect">
              <a:avLst/>
            </a:prstGeom>
            <a:grpFill/>
          </p:spPr>
        </p:pic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7AE20CB6-C42A-4935-AC0E-8789286BA0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11934" y="5306565"/>
              <a:ext cx="392882" cy="392882"/>
            </a:xfrm>
            <a:prstGeom prst="rect">
              <a:avLst/>
            </a:prstGeom>
            <a:grpFill/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6DCCD2A-1D3A-4D35-BBE9-F7D6C60399ED}"/>
              </a:ext>
            </a:extLst>
          </p:cNvPr>
          <p:cNvGrpSpPr/>
          <p:nvPr/>
        </p:nvGrpSpPr>
        <p:grpSpPr>
          <a:xfrm>
            <a:off x="7984106" y="3824773"/>
            <a:ext cx="3565585" cy="2221078"/>
            <a:chOff x="7984106" y="3824773"/>
            <a:chExt cx="3565585" cy="2221078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159B2C1F-7579-49E4-BF9A-4C3CC5088B1C}"/>
                </a:ext>
              </a:extLst>
            </p:cNvPr>
            <p:cNvSpPr txBox="1"/>
            <p:nvPr/>
          </p:nvSpPr>
          <p:spPr>
            <a:xfrm>
              <a:off x="7984106" y="4178224"/>
              <a:ext cx="3565585" cy="1867627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pPr algn="l"/>
              <a:endParaRPr lang="en-DK" dirty="0" err="1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82" name="Text Placeholder 7">
              <a:extLst>
                <a:ext uri="{FF2B5EF4-FFF2-40B4-BE49-F238E27FC236}">
                  <a16:creationId xmlns:a16="http://schemas.microsoft.com/office/drawing/2014/main" id="{D681C841-6E90-4F59-98F4-D37660602EE6}"/>
                </a:ext>
              </a:extLst>
            </p:cNvPr>
            <p:cNvSpPr txBox="1">
              <a:spLocks/>
            </p:cNvSpPr>
            <p:nvPr/>
          </p:nvSpPr>
          <p:spPr>
            <a:xfrm>
              <a:off x="8059187" y="3824773"/>
              <a:ext cx="3344266" cy="223329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SzPct val="80000"/>
                <a:buFont typeface="Arial" panose="020B0604020202020204" pitchFamily="34" charset="0"/>
                <a:buChar char="​"/>
                <a:defRPr sz="1400" b="0" i="0" kern="1200" baseline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  <a:defRPr sz="2000" kern="1200" baseline="0">
                  <a:solidFill>
                    <a:schemeClr val="accent2"/>
                  </a:solidFill>
                  <a:latin typeface="+mj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+mj-lt"/>
                <a:buAutoNum type="alphaLcPeriod"/>
                <a:defRPr sz="1800" kern="1200">
                  <a:solidFill>
                    <a:schemeClr val="accent2"/>
                  </a:solidFill>
                  <a:latin typeface="+mj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SzPct val="60000"/>
                <a:buFont typeface="Arial" panose="020B0604020202020204" pitchFamily="34" charset="0"/>
                <a:buChar char="•"/>
                <a:defRPr sz="1600" kern="1200">
                  <a:solidFill>
                    <a:schemeClr val="accent2"/>
                  </a:solidFill>
                  <a:latin typeface="+mj-lt"/>
                  <a:ea typeface="+mn-ea"/>
                  <a:cs typeface="+mn-cs"/>
                </a:defRPr>
              </a:lvl4pPr>
              <a:lvl5pPr marL="0" indent="0" algn="l" defTabSz="9017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2400" kern="1200" baseline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2000" kern="1200" baseline="0">
                  <a:solidFill>
                    <a:schemeClr val="accent2"/>
                  </a:solidFill>
                  <a:latin typeface="+mj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5600" kern="120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7pPr>
              <a:lvl8pPr marL="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+mj-lt"/>
                <a:buAutoNum type="arabicPeriod"/>
                <a:defRPr sz="1000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8pPr>
              <a:lvl9pPr marL="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+mj-lt"/>
                <a:buAutoNum type="alphaLcParenR"/>
                <a:defRPr sz="1000" b="0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 dirty="0"/>
                <a:t>Product packaging</a:t>
              </a:r>
              <a:endParaRPr lang="en-DK" sz="2000" dirty="0"/>
            </a:p>
          </p:txBody>
        </p: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C4D295CA-15BB-41F8-8A14-56F7650FB02B}"/>
                </a:ext>
              </a:extLst>
            </p:cNvPr>
            <p:cNvCxnSpPr>
              <a:cxnSpLocks/>
            </p:cNvCxnSpPr>
            <p:nvPr/>
          </p:nvCxnSpPr>
          <p:spPr>
            <a:xfrm>
              <a:off x="9584592" y="4122865"/>
              <a:ext cx="257518" cy="0"/>
            </a:xfrm>
            <a:prstGeom prst="line">
              <a:avLst/>
            </a:prstGeom>
            <a:ln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08F491E-18E1-498C-9368-47FCA5F667FA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 rot="5400000">
              <a:off x="8711861" y="4736047"/>
              <a:ext cx="1726176" cy="760058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639ECCC-5002-4779-886D-32B45953C4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/>
            <a:srcRect l="2613" t="3762" r="5345" b="3035"/>
            <a:stretch/>
          </p:blipFill>
          <p:spPr>
            <a:xfrm>
              <a:off x="10085104" y="4537199"/>
              <a:ext cx="1334461" cy="1115968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FDB1B4A-13F9-455F-A0A3-52686AE769F5}"/>
                </a:ext>
              </a:extLst>
            </p:cNvPr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 rotWithShape="1"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319" t="10789" r="15142" b="10303"/>
            <a:stretch/>
          </p:blipFill>
          <p:spPr>
            <a:xfrm>
              <a:off x="8044699" y="4449379"/>
              <a:ext cx="1063728" cy="1012493"/>
            </a:xfrm>
            <a:prstGeom prst="rect">
              <a:avLst/>
            </a:prstGeom>
          </p:spPr>
        </p:pic>
      </p:grpSp>
      <p:pic>
        <p:nvPicPr>
          <p:cNvPr id="8198" name="Picture 6" descr="Risultati immagini per templafy icon">
            <a:extLst>
              <a:ext uri="{FF2B5EF4-FFF2-40B4-BE49-F238E27FC236}">
                <a16:creationId xmlns:a16="http://schemas.microsoft.com/office/drawing/2014/main" id="{4857D1E2-F57D-46E3-A0D4-366D7DC7CC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633" y="4449379"/>
            <a:ext cx="1023227" cy="1023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9C6CCB29-8407-4436-BACF-DB78A2101108}"/>
              </a:ext>
            </a:extLst>
          </p:cNvPr>
          <p:cNvSpPr txBox="1"/>
          <p:nvPr/>
        </p:nvSpPr>
        <p:spPr>
          <a:xfrm>
            <a:off x="787046" y="6319169"/>
            <a:ext cx="4536919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tx1"/>
                </a:solidFill>
                <a:latin typeface="+mj-lt"/>
              </a:rPr>
              <a:t>Where to find them</a:t>
            </a:r>
            <a:r>
              <a:rPr lang="en-US" sz="1000" dirty="0">
                <a:latin typeface="+mj-lt"/>
              </a:rPr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  <a:hlinkClick r:id="rId28" action="ppaction://hlinkfile"/>
              </a:rPr>
              <a:t>Marketing drive</a:t>
            </a:r>
            <a:endParaRPr lang="en-US" sz="10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+mj-lt"/>
                <a:hlinkClick r:id="rId29"/>
              </a:rPr>
              <a:t>Intranet</a:t>
            </a:r>
            <a:r>
              <a:rPr lang="en-US" sz="1000" dirty="0">
                <a:solidFill>
                  <a:schemeClr val="tx1"/>
                </a:solidFill>
                <a:latin typeface="+mj-lt"/>
              </a:rPr>
              <a:t> </a:t>
            </a:r>
            <a:endParaRPr lang="en-DK" sz="1000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265A6F6-0838-4B69-AF17-546A425AEB1C}"/>
              </a:ext>
            </a:extLst>
          </p:cNvPr>
          <p:cNvSpPr txBox="1"/>
          <p:nvPr/>
        </p:nvSpPr>
        <p:spPr>
          <a:xfrm>
            <a:off x="593392" y="5817581"/>
            <a:ext cx="3700388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50" dirty="0">
                <a:solidFill>
                  <a:schemeClr val="tx1"/>
                </a:solidFill>
                <a:latin typeface="+mj-lt"/>
              </a:rPr>
              <a:t>*Contact </a:t>
            </a:r>
            <a:r>
              <a:rPr lang="en-US" sz="1050" dirty="0">
                <a:latin typeface="+mj-lt"/>
              </a:rPr>
              <a:t>IT </a:t>
            </a:r>
            <a:r>
              <a:rPr lang="en-US" sz="1050" dirty="0">
                <a:solidFill>
                  <a:schemeClr val="tx1"/>
                </a:solidFill>
                <a:latin typeface="+mj-lt"/>
              </a:rPr>
              <a:t>helpdesk to request the access</a:t>
            </a:r>
            <a:endParaRPr lang="en-DK" sz="1050" dirty="0" err="1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162076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9">
            <a:extLst>
              <a:ext uri="{FF2B5EF4-FFF2-40B4-BE49-F238E27FC236}">
                <a16:creationId xmlns:a16="http://schemas.microsoft.com/office/drawing/2014/main" id="{9AFC14AB-89FA-41B8-8CF3-30AACEE1BC4C}"/>
              </a:ext>
            </a:extLst>
          </p:cNvPr>
          <p:cNvPicPr>
            <a:picLocks noGrp="1" noChangeAspect="1"/>
          </p:cNvPicPr>
          <p:nvPr>
            <p:ph type="pic" sz="quarter" idx="19"/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05" b="26619"/>
          <a:stretch/>
        </p:blipFill>
        <p:spPr>
          <a:xfrm>
            <a:off x="334963" y="603580"/>
            <a:ext cx="11521279" cy="4620883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FF6EBB-7B25-47CC-BA29-59A0914C2F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DFE603-CFD6-4110-A00C-ED03746629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AD2866-898E-4B2C-8B9F-526410537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1F5A05-18D3-4A65-BB68-4A8330849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33C086-2162-42FD-AC60-CA26E67B395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7393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041B9B-6AD9-4B5E-808C-2702DEB54C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87F43C-EC9B-4F94-9D07-B225B25269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A3819F-E12C-4879-85C5-78B880B411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07C28F-8B8A-4B2D-ABED-99106E62B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E5FF7EE-BA03-42F4-9E79-AF46B50CFD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DK"/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9F2E27B3-7DFC-4F61-8003-5EF64DE48E08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72" b="9272"/>
          <a:stretch>
            <a:fillRect/>
          </a:stretch>
        </p:blipFill>
        <p:spPr/>
      </p:pic>
    </p:spTree>
    <p:custDataLst>
      <p:tags r:id="rId1"/>
    </p:custDataLst>
    <p:extLst>
      <p:ext uri="{BB962C8B-B14F-4D97-AF65-F5344CB8AC3E}">
        <p14:creationId xmlns:p14="http://schemas.microsoft.com/office/powerpoint/2010/main" val="15956193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D31107-B458-4ABC-8245-4D07B8AA80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32FC46-955E-4D6C-A843-61F98BB74F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19069B-D7BE-4C10-AC6F-464C272C4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90EDFA-3A69-4290-946A-7C7A5396E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CDC82EA-7CF4-46B5-8E3A-7F005BA0677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DK"/>
          </a:p>
        </p:txBody>
      </p:sp>
      <p:pic>
        <p:nvPicPr>
          <p:cNvPr id="8" name="Picture Placeholder 15">
            <a:extLst>
              <a:ext uri="{FF2B5EF4-FFF2-40B4-BE49-F238E27FC236}">
                <a16:creationId xmlns:a16="http://schemas.microsoft.com/office/drawing/2014/main" id="{11618745-32DB-428D-97B0-1F740519A824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79" b="11579"/>
          <a:stretch>
            <a:fillRect/>
          </a:stretch>
        </p:blipFill>
        <p:spPr>
          <a:xfrm>
            <a:off x="334963" y="603250"/>
            <a:ext cx="11520487" cy="4621213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697215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4A1F2A-2C31-49E0-A231-C0DBC38DED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B8935C-967A-476F-A38B-3244B829B1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900B29-3F2E-4452-8E23-D51C35B61F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6A311A-3AA6-493E-928A-F54A5BF8F3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0D890C-927E-42E8-B0F5-626A0CB83E6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DK"/>
          </a:p>
        </p:txBody>
      </p:sp>
      <p:pic>
        <p:nvPicPr>
          <p:cNvPr id="8" name="Picture Placeholder 4">
            <a:extLst>
              <a:ext uri="{FF2B5EF4-FFF2-40B4-BE49-F238E27FC236}">
                <a16:creationId xmlns:a16="http://schemas.microsoft.com/office/drawing/2014/main" id="{1BFB85D0-4790-4291-A2F8-E755001405DC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90" b="18290"/>
          <a:stretch>
            <a:fillRect/>
          </a:stretch>
        </p:blipFill>
        <p:spPr>
          <a:xfrm>
            <a:off x="334963" y="603250"/>
            <a:ext cx="11520487" cy="4621213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077576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D31107-B458-4ABC-8245-4D07B8AA80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32FC46-955E-4D6C-A843-61F98BB74F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19069B-D7BE-4C10-AC6F-464C272C4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90EDFA-3A69-4290-946A-7C7A5396E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CDC82EA-7CF4-46B5-8E3A-7F005BA0677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DK"/>
          </a:p>
        </p:txBody>
      </p:sp>
      <p:pic>
        <p:nvPicPr>
          <p:cNvPr id="8" name="Picture Placeholder 11">
            <a:extLst>
              <a:ext uri="{FF2B5EF4-FFF2-40B4-BE49-F238E27FC236}">
                <a16:creationId xmlns:a16="http://schemas.microsoft.com/office/drawing/2014/main" id="{D069B6C6-E51C-4797-8CFB-2E6E8921B469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 b="13757"/>
          <a:stretch>
            <a:fillRect/>
          </a:stretch>
        </p:blipFill>
        <p:spPr>
          <a:xfrm>
            <a:off x="334963" y="603250"/>
            <a:ext cx="11520487" cy="4621213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001000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D31107-B458-4ABC-8245-4D07B8AA80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32FC46-955E-4D6C-A843-61F98BB74F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19069B-D7BE-4C10-AC6F-464C272C4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90EDFA-3A69-4290-946A-7C7A5396E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CDC82EA-7CF4-46B5-8E3A-7F005BA0677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DK"/>
          </a:p>
        </p:txBody>
      </p:sp>
      <p:pic>
        <p:nvPicPr>
          <p:cNvPr id="8" name="Picture Placeholder 11">
            <a:extLst>
              <a:ext uri="{FF2B5EF4-FFF2-40B4-BE49-F238E27FC236}">
                <a16:creationId xmlns:a16="http://schemas.microsoft.com/office/drawing/2014/main" id="{9F727C14-0E26-4C71-9CAC-FD7233D63A98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486" b="10486"/>
          <a:stretch>
            <a:fillRect/>
          </a:stretch>
        </p:blipFill>
        <p:spPr>
          <a:xfrm>
            <a:off x="334963" y="603250"/>
            <a:ext cx="11520487" cy="4621213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240520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8AF4AE-8A57-4ED4-960E-7A8C8E459D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ED5895-EE35-4C2E-9C1F-898C08A4F3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B197F8-EDD0-42F4-BBDB-0A8A0A0379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F0E254-ED8B-4910-9691-DC6E31A721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A870CD3-55BE-4068-A427-513BD108AFB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DK"/>
          </a:p>
        </p:txBody>
      </p:sp>
      <p:pic>
        <p:nvPicPr>
          <p:cNvPr id="8" name="Picture Placeholder 4">
            <a:extLst>
              <a:ext uri="{FF2B5EF4-FFF2-40B4-BE49-F238E27FC236}">
                <a16:creationId xmlns:a16="http://schemas.microsoft.com/office/drawing/2014/main" id="{13C26A42-6F22-4DED-81B9-501F9E6EF4F7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38" b="17438"/>
          <a:stretch>
            <a:fillRect/>
          </a:stretch>
        </p:blipFill>
        <p:spPr>
          <a:xfrm>
            <a:off x="334963" y="603250"/>
            <a:ext cx="11520487" cy="4621213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24643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6D0C27-9445-4B63-A53D-325E812E16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F0D95-3DBE-4422-9DB2-DE41EE0951C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3AF131-4CC9-4650-8199-4452A38A21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C84F05-0CC1-43A8-8B6E-A1C668FC50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88EBB8E-EE20-4CE6-9B16-59FD6AE7C0F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DK"/>
          </a:p>
        </p:txBody>
      </p:sp>
      <p:pic>
        <p:nvPicPr>
          <p:cNvPr id="8" name="Picture Placeholder 4">
            <a:extLst>
              <a:ext uri="{FF2B5EF4-FFF2-40B4-BE49-F238E27FC236}">
                <a16:creationId xmlns:a16="http://schemas.microsoft.com/office/drawing/2014/main" id="{D8A10A16-5B6A-475E-B0C5-49DF85A98D5B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15" b="23415"/>
          <a:stretch>
            <a:fillRect/>
          </a:stretch>
        </p:blipFill>
        <p:spPr>
          <a:xfrm>
            <a:off x="334963" y="603250"/>
            <a:ext cx="11520487" cy="4621213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052294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BE34CD-BA1E-48D8-A110-F3D410A328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A8EBBC-634D-40C2-9DF0-A52D99AFEA3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1AB230-25A3-4ABB-B0CF-85CEACFDA5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59CACD-F7E9-4170-8F13-72736D468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A2BB617-C79E-40AF-BBAF-FAEB39B43EF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DK"/>
          </a:p>
        </p:txBody>
      </p:sp>
      <p:pic>
        <p:nvPicPr>
          <p:cNvPr id="8" name="Picture Placeholder 4">
            <a:extLst>
              <a:ext uri="{FF2B5EF4-FFF2-40B4-BE49-F238E27FC236}">
                <a16:creationId xmlns:a16="http://schemas.microsoft.com/office/drawing/2014/main" id="{5A4C7DF7-086E-4F11-9BC7-868CC4D1821E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921" b="19921"/>
          <a:stretch>
            <a:fillRect/>
          </a:stretch>
        </p:blipFill>
        <p:spPr>
          <a:xfrm>
            <a:off x="334963" y="603250"/>
            <a:ext cx="11520487" cy="4621213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173655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AA7AE-067E-463F-93C3-138243ECA5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0B986E-5D6B-4CBE-A047-9DCE76A154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00CF1C-2C84-41BD-86B6-0D5E2ABA8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F96034-94FE-4E8A-8CBC-275768D6A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C8794E7-248B-4AFB-B701-CCEB997F8F6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DK"/>
          </a:p>
        </p:txBody>
      </p:sp>
      <p:pic>
        <p:nvPicPr>
          <p:cNvPr id="8" name="Picture Placeholder 4">
            <a:extLst>
              <a:ext uri="{FF2B5EF4-FFF2-40B4-BE49-F238E27FC236}">
                <a16:creationId xmlns:a16="http://schemas.microsoft.com/office/drawing/2014/main" id="{8FCEC002-B35B-43C8-A653-97375CE4196E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921" b="19921"/>
          <a:stretch>
            <a:fillRect/>
          </a:stretch>
        </p:blipFill>
        <p:spPr>
          <a:xfrm>
            <a:off x="334963" y="603250"/>
            <a:ext cx="11520487" cy="4621213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870834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9D84ABC8-1A15-4BD1-833A-1833E57EB6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9D84ABC8-1A15-4BD1-833A-1833E57EB6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E1947700-6FD3-4746-B462-0EEAC915C12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 err="1">
              <a:latin typeface="Karbon Light" panose="02000000000000000000" pitchFamily="2" charset="0"/>
              <a:ea typeface="+mj-ea"/>
              <a:cs typeface="+mj-cs"/>
              <a:sym typeface="Karbon Light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D1F508-0A7D-48F0-864D-EC348C2E46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and Elements –</a:t>
            </a:r>
            <a:r>
              <a:rPr lang="en-US" dirty="0">
                <a:solidFill>
                  <a:schemeClr val="accent1"/>
                </a:solidFill>
              </a:rPr>
              <a:t>The Triangle</a:t>
            </a:r>
            <a:endParaRPr lang="en-DK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4B9F9D17-825E-4DD5-95F3-72C49DA6D18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7"/>
          <a:srcRect l="56981" t="20461" r="4334"/>
          <a:stretch/>
        </p:blipFill>
        <p:spPr>
          <a:xfrm rot="16200000">
            <a:off x="958594" y="2985895"/>
            <a:ext cx="1976255" cy="2805462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56CE8C-57EC-492A-AF45-33ADFC9B9E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795EF8-6352-4167-8B16-0E9B0978F016}"/>
              </a:ext>
            </a:extLst>
          </p:cNvPr>
          <p:cNvSpPr txBox="1"/>
          <p:nvPr/>
        </p:nvSpPr>
        <p:spPr>
          <a:xfrm>
            <a:off x="653685" y="2331671"/>
            <a:ext cx="628556" cy="615553"/>
          </a:xfrm>
          <a:prstGeom prst="rect">
            <a:avLst/>
          </a:prstGeom>
          <a:solidFill>
            <a:srgbClr val="C8143C"/>
          </a:solidFill>
          <a:ln>
            <a:solidFill>
              <a:srgbClr val="C8143C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bg1"/>
                </a:solidFill>
              </a:rPr>
              <a:t>X</a:t>
            </a:r>
            <a:endParaRPr lang="en-US" sz="400" b="1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3D9BB1-4CF3-4338-B1A9-7A6AE465D007}"/>
              </a:ext>
            </a:extLst>
          </p:cNvPr>
          <p:cNvSpPr txBox="1"/>
          <p:nvPr/>
        </p:nvSpPr>
        <p:spPr>
          <a:xfrm>
            <a:off x="1509822" y="2331670"/>
            <a:ext cx="3386644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b="1" dirty="0">
                <a:solidFill>
                  <a:schemeClr val="tx1"/>
                </a:solidFill>
                <a:latin typeface="+mj-lt"/>
              </a:rPr>
              <a:t>01   </a:t>
            </a:r>
            <a:r>
              <a:rPr lang="en-US" sz="2000" dirty="0">
                <a:solidFill>
                  <a:schemeClr val="tx1"/>
                </a:solidFill>
                <a:latin typeface="+mj-lt"/>
              </a:rPr>
              <a:t>Do not use this element </a:t>
            </a:r>
            <a:endParaRPr lang="en-US" sz="2000" dirty="0">
              <a:latin typeface="+mj-lt"/>
            </a:endParaRPr>
          </a:p>
          <a:p>
            <a:r>
              <a:rPr lang="en-US" sz="2000" b="1" dirty="0">
                <a:latin typeface="+mj-lt"/>
              </a:rPr>
              <a:t>02</a:t>
            </a:r>
            <a:r>
              <a:rPr lang="en-US" sz="2000" dirty="0">
                <a:latin typeface="+mj-lt"/>
              </a:rPr>
              <a:t>   It should be removed from the m</a:t>
            </a:r>
            <a:r>
              <a:rPr lang="en-US" sz="2000" dirty="0">
                <a:solidFill>
                  <a:schemeClr val="tx1"/>
                </a:solidFill>
                <a:latin typeface="+mj-lt"/>
              </a:rPr>
              <a:t>arketing material in use</a:t>
            </a:r>
            <a:endParaRPr lang="en-DK" sz="2000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AD3935-7CAC-4144-98E6-224B0EE0EEB8}"/>
              </a:ext>
            </a:extLst>
          </p:cNvPr>
          <p:cNvSpPr txBox="1"/>
          <p:nvPr/>
        </p:nvSpPr>
        <p:spPr>
          <a:xfrm>
            <a:off x="543991" y="1513616"/>
            <a:ext cx="488696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4000" dirty="0">
                <a:solidFill>
                  <a:schemeClr val="tx1"/>
                </a:solidFill>
                <a:latin typeface="+mj-lt"/>
              </a:rPr>
              <a:t>Don´ts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749D55A-9FBD-44F9-8863-5DD679A855E3}"/>
              </a:ext>
            </a:extLst>
          </p:cNvPr>
          <p:cNvSpPr txBox="1"/>
          <p:nvPr/>
        </p:nvSpPr>
        <p:spPr>
          <a:xfrm>
            <a:off x="6244284" y="2277933"/>
            <a:ext cx="628556" cy="615553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4000" b="1" dirty="0">
                <a:solidFill>
                  <a:srgbClr val="00B050"/>
                </a:solidFill>
              </a:rPr>
              <a:t>V</a:t>
            </a:r>
            <a:endParaRPr lang="en-US" sz="400" b="1" dirty="0">
              <a:solidFill>
                <a:srgbClr val="00B05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038DB1B-B9C7-4F0E-A068-7B944916EAEC}"/>
              </a:ext>
            </a:extLst>
          </p:cNvPr>
          <p:cNvSpPr txBox="1"/>
          <p:nvPr/>
        </p:nvSpPr>
        <p:spPr>
          <a:xfrm>
            <a:off x="6244284" y="1524391"/>
            <a:ext cx="488696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4000" dirty="0">
                <a:solidFill>
                  <a:schemeClr val="tx1"/>
                </a:solidFill>
                <a:latin typeface="+mj-lt"/>
              </a:rPr>
              <a:t>Do´s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603AC2D-2811-4915-A3FF-5800E700EE47}"/>
              </a:ext>
            </a:extLst>
          </p:cNvPr>
          <p:cNvSpPr txBox="1"/>
          <p:nvPr/>
        </p:nvSpPr>
        <p:spPr>
          <a:xfrm>
            <a:off x="7118151" y="2277933"/>
            <a:ext cx="416928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b="1" dirty="0">
                <a:latin typeface="+mj-lt"/>
              </a:rPr>
              <a:t>01</a:t>
            </a:r>
            <a:r>
              <a:rPr lang="en-US" sz="2000" dirty="0">
                <a:latin typeface="+mj-lt"/>
              </a:rPr>
              <a:t>    Always and only use the NEW brand element The Triangle </a:t>
            </a:r>
            <a:endParaRPr lang="en-DK" sz="2000" dirty="0" err="1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D52E51E-EFB9-4D30-AE49-F9648F13D1E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0344" r="20160"/>
          <a:stretch/>
        </p:blipFill>
        <p:spPr>
          <a:xfrm>
            <a:off x="6244284" y="3428952"/>
            <a:ext cx="2805462" cy="1800135"/>
          </a:xfrm>
          <a:prstGeom prst="rect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202C36F-1E67-4A2E-8F53-2217651FF323}"/>
              </a:ext>
            </a:extLst>
          </p:cNvPr>
          <p:cNvSpPr/>
          <p:nvPr/>
        </p:nvSpPr>
        <p:spPr>
          <a:xfrm>
            <a:off x="2038661" y="5734944"/>
            <a:ext cx="7884827" cy="74065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2400" b="1" dirty="0">
                <a:latin typeface="+mj-lt"/>
              </a:rPr>
              <a:t>Please update the marketing material in use to the new CVI </a:t>
            </a:r>
            <a:endParaRPr lang="en-DK" sz="2400" b="1" dirty="0" err="1">
              <a:latin typeface="+mj-lt"/>
            </a:endParaRPr>
          </a:p>
        </p:txBody>
      </p:sp>
      <p:pic>
        <p:nvPicPr>
          <p:cNvPr id="9221" name="Picture 5" descr="E-mail-signature-Wireless-fin-1">
            <a:extLst>
              <a:ext uri="{FF2B5EF4-FFF2-40B4-BE49-F238E27FC236}">
                <a16:creationId xmlns:a16="http://schemas.microsoft.com/office/drawing/2014/main" id="{39A8C104-5C02-439D-8D75-48A48AB03A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424" y="3465260"/>
            <a:ext cx="1424379" cy="58874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8856A52-EA84-418C-BE03-DF1805AD7FF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49453" y="3429000"/>
            <a:ext cx="1424379" cy="1910020"/>
          </a:xfrm>
          <a:prstGeom prst="rect">
            <a:avLst/>
          </a:prstGeom>
          <a:ln>
            <a:solidFill>
              <a:srgbClr val="98999B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B73932A-584F-441E-98C9-CBCB02BA37DB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2294"/>
          <a:stretch/>
        </p:blipFill>
        <p:spPr>
          <a:xfrm>
            <a:off x="9211298" y="3399343"/>
            <a:ext cx="1375417" cy="1829744"/>
          </a:xfrm>
          <a:prstGeom prst="rect">
            <a:avLst/>
          </a:prstGeom>
          <a:ln>
            <a:solidFill>
              <a:srgbClr val="98999B"/>
            </a:solidFill>
          </a:ln>
        </p:spPr>
      </p:pic>
    </p:spTree>
    <p:extLst>
      <p:ext uri="{BB962C8B-B14F-4D97-AF65-F5344CB8AC3E}">
        <p14:creationId xmlns:p14="http://schemas.microsoft.com/office/powerpoint/2010/main" val="865003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483EA8-87CF-46E4-8FD4-33BD54145C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C488141-A450-4E2F-9493-DFB49042CDB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51A524-2DF7-4158-8C02-40555E1CC3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7167DE-940D-4CE8-A433-1F644F04D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FF5AD99-4334-4975-9E75-8CD7953F8BA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DK"/>
          </a:p>
        </p:txBody>
      </p:sp>
      <p:pic>
        <p:nvPicPr>
          <p:cNvPr id="8" name="Picture Placeholder 11">
            <a:extLst>
              <a:ext uri="{FF2B5EF4-FFF2-40B4-BE49-F238E27FC236}">
                <a16:creationId xmlns:a16="http://schemas.microsoft.com/office/drawing/2014/main" id="{A367C2C2-F8F1-4B9A-825F-88AE3FECA3A3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55" b="23255"/>
          <a:stretch>
            <a:fillRect/>
          </a:stretch>
        </p:blipFill>
        <p:spPr>
          <a:xfrm>
            <a:off x="334963" y="603250"/>
            <a:ext cx="11520487" cy="4621213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327494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2084F2-E692-4EB8-9C0B-0DDCC310496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A7BA90-D7D5-40E9-80B8-661A949582C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25372B-1C9D-4C24-B225-061F87333D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8010CD-252C-4BA4-871E-20DA30DB75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19F4565-8693-42E5-AD91-07BB1E368B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DK"/>
          </a:p>
        </p:txBody>
      </p:sp>
      <p:pic>
        <p:nvPicPr>
          <p:cNvPr id="8" name="Picture Placeholder 8">
            <a:extLst>
              <a:ext uri="{FF2B5EF4-FFF2-40B4-BE49-F238E27FC236}">
                <a16:creationId xmlns:a16="http://schemas.microsoft.com/office/drawing/2014/main" id="{45AFA0B4-F578-4C08-A296-4C15DFECF24A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953" b="19953"/>
          <a:stretch>
            <a:fillRect/>
          </a:stretch>
        </p:blipFill>
        <p:spPr>
          <a:xfrm>
            <a:off x="334963" y="603250"/>
            <a:ext cx="11520487" cy="4621213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25839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837C344-34EA-4901-BEB2-401E433C09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837C344-34EA-4901-BEB2-401E433C09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ladsholder til billede 14" descr="Et billede, der indeholder person, indendørs, væg, gulv&#10;&#10;Beskrivelse, der er oprettet med meget høj sikkerhed">
            <a:extLst>
              <a:ext uri="{FF2B5EF4-FFF2-40B4-BE49-F238E27FC236}">
                <a16:creationId xmlns:a16="http://schemas.microsoft.com/office/drawing/2014/main" id="{FE6E63BB-7E5A-430F-B328-A80002138F4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9" name="Pladsholder til tekst 3">
            <a:extLst>
              <a:ext uri="{FF2B5EF4-FFF2-40B4-BE49-F238E27FC236}">
                <a16:creationId xmlns:a16="http://schemas.microsoft.com/office/drawing/2014/main" id="{A79CB8B1-784A-4B33-A84E-AF33D3CBF992}"/>
              </a:ext>
            </a:extLst>
          </p:cNvPr>
          <p:cNvSpPr txBox="1">
            <a:spLocks/>
          </p:cNvSpPr>
          <p:nvPr/>
        </p:nvSpPr>
        <p:spPr>
          <a:xfrm>
            <a:off x="443364" y="1493909"/>
            <a:ext cx="4439030" cy="3927417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2400" b="0" i="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20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+mj-lt"/>
              <a:buAutoNum type="alphaLcPeriod"/>
              <a:defRPr sz="180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60000"/>
              <a:buFont typeface="Arial" panose="020B0604020202020204" pitchFamily="34" charset="0"/>
              <a:buChar char="•"/>
              <a:defRPr sz="160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0" indent="0" algn="l" defTabSz="9017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24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5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+mj-lt"/>
              <a:buAutoNum type="arabicPeriod"/>
              <a:defRPr sz="1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+mj-lt"/>
              <a:buAutoNum type="alphaLcParenR"/>
              <a:defRPr sz="1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3600">
                <a:solidFill>
                  <a:srgbClr val="5F5F64"/>
                </a:solidFill>
              </a:rPr>
              <a:t>Headline text. This page 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3600">
                <a:solidFill>
                  <a:srgbClr val="5F5F64"/>
                </a:solidFill>
              </a:rPr>
              <a:t>is used as a breaker in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3600">
                <a:solidFill>
                  <a:srgbClr val="5F5F64"/>
                </a:solidFill>
              </a:rPr>
              <a:t>the presentation and for </a:t>
            </a:r>
            <a:r>
              <a:rPr lang="en-GB" sz="3600">
                <a:solidFill>
                  <a:srgbClr val="B6163E"/>
                </a:solidFill>
              </a:rPr>
              <a:t>highlighting messages that are important.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3600">
                <a:solidFill>
                  <a:srgbClr val="5F5F64"/>
                </a:solidFill>
              </a:rPr>
              <a:t>Lorem ipsum.</a:t>
            </a:r>
          </a:p>
          <a:p>
            <a:endParaRPr lang="en-GB" dirty="0">
              <a:latin typeface="+mn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E4463C-DF06-4326-9A68-DE806631BC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160315-88B3-42AC-8A9F-472FF38F79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B65E87-DD27-4293-965F-B9418BB71B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9599148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9C788D7-93BE-4A74-B45F-047203053F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9C788D7-93BE-4A74-B45F-047203053F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lede 3" descr="Et billede, der indeholder mand&#10;&#10;Beskrivelse, der er oprettet med høj sikkerhed">
            <a:extLst>
              <a:ext uri="{FF2B5EF4-FFF2-40B4-BE49-F238E27FC236}">
                <a16:creationId xmlns:a16="http://schemas.microsoft.com/office/drawing/2014/main" id="{D5681AD3-7B4A-402F-978D-6CE141258DB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sp>
        <p:nvSpPr>
          <p:cNvPr id="6" name="Pladsholder til tekst 7">
            <a:extLst>
              <a:ext uri="{FF2B5EF4-FFF2-40B4-BE49-F238E27FC236}">
                <a16:creationId xmlns:a16="http://schemas.microsoft.com/office/drawing/2014/main" id="{A977A630-3E2C-43D2-ADAD-270DD2558267}"/>
              </a:ext>
            </a:extLst>
          </p:cNvPr>
          <p:cNvSpPr txBox="1">
            <a:spLocks/>
          </p:cNvSpPr>
          <p:nvPr/>
        </p:nvSpPr>
        <p:spPr>
          <a:xfrm>
            <a:off x="443364" y="1496037"/>
            <a:ext cx="4582662" cy="3925888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2400" b="0" i="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20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+mj-lt"/>
              <a:buAutoNum type="alphaLcPeriod"/>
              <a:defRPr sz="180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60000"/>
              <a:buFont typeface="Arial" panose="020B0604020202020204" pitchFamily="34" charset="0"/>
              <a:buChar char="•"/>
              <a:defRPr sz="160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0" indent="0" algn="l" defTabSz="9017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24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5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+mj-lt"/>
              <a:buAutoNum type="arabicPeriod"/>
              <a:defRPr sz="1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+mj-lt"/>
              <a:buAutoNum type="alphaLcParenR"/>
              <a:defRPr sz="1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3600" dirty="0">
                <a:solidFill>
                  <a:srgbClr val="5F5F64"/>
                </a:solidFill>
              </a:rPr>
              <a:t>Headline text. This page is used as a breaker in the presentation and for </a:t>
            </a:r>
            <a:r>
              <a:rPr lang="en-GB" sz="3600" dirty="0">
                <a:solidFill>
                  <a:srgbClr val="B6163E"/>
                </a:solidFill>
              </a:rPr>
              <a:t>highlighting messages that are important.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3600" dirty="0">
                <a:solidFill>
                  <a:srgbClr val="5F5F64"/>
                </a:solidFill>
              </a:rPr>
              <a:t>Lorem ipsum.</a:t>
            </a:r>
          </a:p>
          <a:p>
            <a:endParaRPr lang="en-GB" dirty="0"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B799A0C-012C-42E1-8E88-A4D0EC0F27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9CEEAF-C295-4209-A94D-50A12E2545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57EDA1-826A-49F0-9EB2-C76B5872B1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1516999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957086B-5DC9-4948-9D23-5F98BCAA74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957086B-5DC9-4948-9D23-5F98BCAA7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lede 5" descr="Et billede, der indeholder person, indendørs, væg, smilende&#10;&#10;Beskrivelse, der er oprettet med meget høj sikkerhed">
            <a:extLst>
              <a:ext uri="{FF2B5EF4-FFF2-40B4-BE49-F238E27FC236}">
                <a16:creationId xmlns:a16="http://schemas.microsoft.com/office/drawing/2014/main" id="{DCE7BAB6-9983-48BE-8462-C8F950CD739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81488" y="1"/>
            <a:ext cx="7910511" cy="6858000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1AE432BE-16D4-47B5-B80B-04B7B46CFC37}"/>
              </a:ext>
            </a:extLst>
          </p:cNvPr>
          <p:cNvSpPr txBox="1">
            <a:spLocks/>
          </p:cNvSpPr>
          <p:nvPr/>
        </p:nvSpPr>
        <p:spPr>
          <a:xfrm>
            <a:off x="443364" y="662665"/>
            <a:ext cx="4690697" cy="342582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1000"/>
              </a:lnSpc>
              <a:spcBef>
                <a:spcPct val="0"/>
              </a:spcBef>
              <a:buNone/>
              <a:defRPr sz="3600" b="0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Headline text. This page is used as a breaker in the presentation and for </a:t>
            </a:r>
            <a:r>
              <a:rPr lang="en-GB" dirty="0">
                <a:solidFill>
                  <a:schemeClr val="accent1"/>
                </a:solidFill>
              </a:rPr>
              <a:t>highlighting messages that are important. </a:t>
            </a:r>
            <a:br>
              <a:rPr lang="en-GB" dirty="0"/>
            </a:br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C5AE008-7605-4CAC-BA22-C8BCB2AD5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EC1842-9823-4286-823E-09AF597C42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15708A-EB6F-49E1-9B6F-BAB6C1588F3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9346590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82EF98B-012E-4097-8E06-614B796752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82EF98B-012E-4097-8E06-614B79675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B4A99816-7630-466D-9815-0EE60D9DA7A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00FD5479-A69C-4A77-B8C5-BD25BAC9B9A5}"/>
              </a:ext>
            </a:extLst>
          </p:cNvPr>
          <p:cNvSpPr txBox="1">
            <a:spLocks/>
          </p:cNvSpPr>
          <p:nvPr/>
        </p:nvSpPr>
        <p:spPr>
          <a:xfrm>
            <a:off x="434975" y="3309302"/>
            <a:ext cx="5345040" cy="248570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1000"/>
              </a:lnSpc>
              <a:spcBef>
                <a:spcPct val="0"/>
              </a:spcBef>
              <a:buNone/>
              <a:defRPr sz="3600" b="0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Headline text. This page is used as a breaker in the presentation and for </a:t>
            </a:r>
            <a:r>
              <a:rPr lang="en-GB">
                <a:solidFill>
                  <a:schemeClr val="accent1"/>
                </a:solidFill>
              </a:rPr>
              <a:t>highlighting messages that are important. </a:t>
            </a:r>
            <a:r>
              <a:rPr lang="en-GB"/>
              <a:t>Lorem ipsum.</a:t>
            </a:r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C5AE008-7605-4CAC-BA22-C8BCB2AD5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EC1842-9823-4286-823E-09AF597C42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25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15708A-EB6F-49E1-9B6F-BAB6C1588F3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33196631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A5B52AE-B0E6-4DEE-BE74-33F2D401AF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A5B52AE-B0E6-4DEE-BE74-33F2D401AF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67919955-C2FF-43D7-A56C-FF6835DFAA0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C5AE008-7605-4CAC-BA22-C8BCB2AD5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EC1842-9823-4286-823E-09AF597C42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15708A-EB6F-49E1-9B6F-BAB6C1588F3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341437" y="6194836"/>
            <a:ext cx="1515600" cy="316800"/>
          </a:xfrm>
        </p:spPr>
        <p:txBody>
          <a:bodyPr/>
          <a:lstStyle/>
          <a:p>
            <a:endParaRPr lang="en-DK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3404AB49-050F-4F37-AAD8-1717FAA778E0}"/>
              </a:ext>
            </a:extLst>
          </p:cNvPr>
          <p:cNvSpPr txBox="1">
            <a:spLocks/>
          </p:cNvSpPr>
          <p:nvPr/>
        </p:nvSpPr>
        <p:spPr>
          <a:xfrm>
            <a:off x="6156251" y="650726"/>
            <a:ext cx="5595330" cy="27485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600" b="0" i="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r"/>
            <a:r>
              <a:rPr lang="en-GB" dirty="0">
                <a:latin typeface="+mj-lt"/>
              </a:rPr>
              <a:t>Headline text. This page is used as a breaker in the presentation and for </a:t>
            </a:r>
            <a:r>
              <a:rPr lang="en-GB" dirty="0">
                <a:solidFill>
                  <a:schemeClr val="accent1"/>
                </a:solidFill>
                <a:latin typeface="+mj-lt"/>
              </a:rPr>
              <a:t>highlighting messages that are important. </a:t>
            </a:r>
            <a:r>
              <a:rPr lang="en-GB" dirty="0">
                <a:latin typeface="+mj-lt"/>
              </a:rPr>
              <a:t>Lorem ipsum </a:t>
            </a:r>
            <a:r>
              <a:rPr lang="en-GB" dirty="0" err="1">
                <a:latin typeface="+mj-lt"/>
              </a:rPr>
              <a:t>dolor</a:t>
            </a:r>
            <a:r>
              <a:rPr lang="en-GB" dirty="0">
                <a:latin typeface="+mj-lt"/>
              </a:rPr>
              <a:t> sit </a:t>
            </a:r>
            <a:r>
              <a:rPr lang="en-GB" dirty="0" err="1">
                <a:latin typeface="+mj-lt"/>
              </a:rPr>
              <a:t>amet</a:t>
            </a:r>
            <a:r>
              <a:rPr lang="en-GB" dirty="0">
                <a:latin typeface="+mj-lt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503298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C5AE008-7605-4CAC-BA22-C8BCB2AD5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EC1842-9823-4286-823E-09AF597C42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27</a:t>
            </a:fld>
            <a:endParaRPr lang="en-GB" dirty="0"/>
          </a:p>
        </p:txBody>
      </p:sp>
      <p:pic>
        <p:nvPicPr>
          <p:cNvPr id="11" name="Billede 12">
            <a:extLst>
              <a:ext uri="{FF2B5EF4-FFF2-40B4-BE49-F238E27FC236}">
                <a16:creationId xmlns:a16="http://schemas.microsoft.com/office/drawing/2014/main" id="{96978A50-17DF-4D3D-ABE4-36E19ABF114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" r="14"/>
          <a:stretch/>
        </p:blipFill>
        <p:spPr>
          <a:xfrm>
            <a:off x="5232840" y="1421535"/>
            <a:ext cx="6959160" cy="4896465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10EF8792-4E25-40AE-8B12-2E4A5761879E}"/>
              </a:ext>
            </a:extLst>
          </p:cNvPr>
          <p:cNvSpPr txBox="1">
            <a:spLocks/>
          </p:cNvSpPr>
          <p:nvPr/>
        </p:nvSpPr>
        <p:spPr>
          <a:xfrm>
            <a:off x="443364" y="1495419"/>
            <a:ext cx="5747711" cy="3425825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81000"/>
              </a:lnSpc>
              <a:spcBef>
                <a:spcPct val="0"/>
              </a:spcBef>
              <a:buNone/>
              <a:defRPr sz="3600" b="0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Headline text. This page is used as a breaker in the presentation and for </a:t>
            </a:r>
            <a:r>
              <a:rPr lang="en-GB" dirty="0">
                <a:solidFill>
                  <a:schemeClr val="accent1"/>
                </a:solidFill>
              </a:rPr>
              <a:t>highlighting messages that are important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895020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51E512-4966-4E6A-AF4C-4E83119775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51E512-4966-4E6A-AF4C-4E83119775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54A479E-1FBE-4DFB-B302-1419EDC37A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FB788F-624F-48A6-965B-38ACBBB71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28</a:t>
            </a:fld>
            <a:endParaRPr lang="en-GB" dirty="0"/>
          </a:p>
        </p:txBody>
      </p:sp>
      <p:pic>
        <p:nvPicPr>
          <p:cNvPr id="9" name="Billede 6">
            <a:extLst>
              <a:ext uri="{FF2B5EF4-FFF2-40B4-BE49-F238E27FC236}">
                <a16:creationId xmlns:a16="http://schemas.microsoft.com/office/drawing/2014/main" id="{C05A9541-DD52-43D9-9FB5-7DA32530B294}"/>
              </a:ext>
            </a:extLst>
          </p:cNvPr>
          <p:cNvPicPr>
            <a:picLocks noGrp="1" noRot="1" noMove="1" noResize="1" noEditPoints="1" noAdjustHandles="1" noChangeArrowheads="1" noChangeShapeType="1"/>
          </p:cNvPicPr>
          <p:nvPr>
            <p:custDataLst>
              <p:tags r:id="rId2"/>
            </p:custDataLst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3986" y="1562100"/>
            <a:ext cx="5974556" cy="4480917"/>
          </a:xfrm>
          <a:prstGeom prst="rect">
            <a:avLst/>
          </a:prstGeom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1FEC9A2D-0E50-4B01-8659-F121FDC93813}"/>
              </a:ext>
            </a:extLst>
          </p:cNvPr>
          <p:cNvSpPr txBox="1">
            <a:spLocks/>
          </p:cNvSpPr>
          <p:nvPr/>
        </p:nvSpPr>
        <p:spPr>
          <a:xfrm>
            <a:off x="443364" y="1495423"/>
            <a:ext cx="5661025" cy="3425825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81000"/>
              </a:lnSpc>
              <a:spcBef>
                <a:spcPct val="0"/>
              </a:spcBef>
              <a:buNone/>
              <a:defRPr sz="3600" b="0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Headline text. This page is used as a breaker in the presentation and for </a:t>
            </a:r>
            <a:r>
              <a:rPr lang="en-GB" dirty="0">
                <a:solidFill>
                  <a:schemeClr val="accent1"/>
                </a:solidFill>
              </a:rPr>
              <a:t>highlighting messages that are important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78202750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C5AE008-7605-4CAC-BA22-C8BCB2AD5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EC1842-9823-4286-823E-09AF597C42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0C521497-B7BD-4EFE-A551-8FE552A18FBA}"/>
              </a:ext>
            </a:extLst>
          </p:cNvPr>
          <p:cNvSpPr txBox="1">
            <a:spLocks/>
          </p:cNvSpPr>
          <p:nvPr/>
        </p:nvSpPr>
        <p:spPr>
          <a:xfrm>
            <a:off x="443139" y="1487032"/>
            <a:ext cx="5635843" cy="3425825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81000"/>
              </a:lnSpc>
              <a:spcBef>
                <a:spcPct val="0"/>
              </a:spcBef>
              <a:buNone/>
              <a:defRPr sz="3600" b="0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Headline text. This page is used as a breaker in the presentation and for </a:t>
            </a:r>
            <a:r>
              <a:rPr lang="en-GB" dirty="0">
                <a:solidFill>
                  <a:schemeClr val="accent1"/>
                </a:solidFill>
              </a:rPr>
              <a:t>highlighting messages that are important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</a:p>
        </p:txBody>
      </p:sp>
      <p:pic>
        <p:nvPicPr>
          <p:cNvPr id="6" name="Billede 7" descr="Et billede, der indeholder metal&#10;&#10;Beskrivelse, der er oprettet med høj sikkerhed">
            <a:extLst>
              <a:ext uri="{FF2B5EF4-FFF2-40B4-BE49-F238E27FC236}">
                <a16:creationId xmlns:a16="http://schemas.microsoft.com/office/drawing/2014/main" id="{FA335CFE-09F9-49B8-8831-B4DE5B0AC954}"/>
              </a:ext>
            </a:extLst>
          </p:cNvPr>
          <p:cNvPicPr>
            <a:picLocks noGrp="1" noRot="1" noMove="1" noResize="1" noEditPoints="1" noAdjustHandles="1" noChangeArrowheads="1" noChangeShapeType="1"/>
          </p:cNvPicPr>
          <p:nvPr>
            <p:custDataLst>
              <p:tags r:id="rId1"/>
            </p:custDataLst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9117"/>
          <a:stretch/>
        </p:blipFill>
        <p:spPr>
          <a:xfrm>
            <a:off x="5785198" y="1879504"/>
            <a:ext cx="5635843" cy="4216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65907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6277842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CEEF74C-7109-40E1-9CA3-D9EAF2EAE7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CEEF74C-7109-40E1-9CA3-D9EAF2EAE7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1200A1F5-D19C-49CB-85C8-6E8CBE0690F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C5AE008-7605-4CAC-BA22-C8BCB2AD5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EC1842-9823-4286-823E-09AF597C42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15708A-EB6F-49E1-9B6F-BAB6C1588F3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DK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0E3F6F4-3B94-4A4B-9B6C-0CE6AA9012F0}"/>
              </a:ext>
            </a:extLst>
          </p:cNvPr>
          <p:cNvSpPr txBox="1">
            <a:spLocks/>
          </p:cNvSpPr>
          <p:nvPr/>
        </p:nvSpPr>
        <p:spPr>
          <a:xfrm>
            <a:off x="443139" y="1495192"/>
            <a:ext cx="5440045" cy="3035341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81000"/>
              </a:lnSpc>
              <a:spcBef>
                <a:spcPct val="0"/>
              </a:spcBef>
              <a:buNone/>
              <a:defRPr sz="3600" b="0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Headline text. This page is used as a breaker in the presentation and for </a:t>
            </a:r>
            <a:r>
              <a:rPr lang="en-GB" dirty="0">
                <a:solidFill>
                  <a:schemeClr val="accent1"/>
                </a:solidFill>
              </a:rPr>
              <a:t>highlighting messages that are important. </a:t>
            </a:r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95843957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et’s change dentistry </a:t>
            </a:r>
            <a:r>
              <a:rPr lang="en-GB" dirty="0">
                <a:solidFill>
                  <a:schemeClr val="accent1"/>
                </a:solidFill>
              </a:rPr>
              <a:t>togethe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2035BB-A67A-418E-9456-E570ED2FC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C8143C"/>
                </a:solidFill>
              </a:rPr>
              <a:t> </a:t>
            </a:r>
            <a:r>
              <a:rPr lang="en-GB" dirty="0"/>
              <a:t>”The 3Shape name and logo and/or other trademarks mentioned herein are trademarks of 3Shape A/S, registered in </a:t>
            </a:r>
          </a:p>
          <a:p>
            <a:r>
              <a:rPr lang="en-GB" dirty="0"/>
              <a:t>[Insert Country for localization] and other countries. All rights reserved. ”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23C0A2D-307B-408D-AB69-B45AA45B1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.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67976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7255691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D31107-B458-4ABC-8245-4D07B8AA80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32FC46-955E-4D6C-A843-61F98BB74F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19069B-D7BE-4C10-AC6F-464C272C4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90EDFA-3A69-4290-946A-7C7A5396E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CDC82EA-7CF4-46B5-8E3A-7F005BA0677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DK"/>
          </a:p>
        </p:txBody>
      </p:sp>
      <p:pic>
        <p:nvPicPr>
          <p:cNvPr id="8" name="Picture Placeholder 11">
            <a:extLst>
              <a:ext uri="{FF2B5EF4-FFF2-40B4-BE49-F238E27FC236}">
                <a16:creationId xmlns:a16="http://schemas.microsoft.com/office/drawing/2014/main" id="{E14E8343-1123-40EC-BF83-9BE5CFF27060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62" b="14462"/>
          <a:stretch>
            <a:fillRect/>
          </a:stretch>
        </p:blipFill>
        <p:spPr>
          <a:xfrm>
            <a:off x="334963" y="603250"/>
            <a:ext cx="11520487" cy="4621213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891104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1">
            <a:extLst>
              <a:ext uri="{FF2B5EF4-FFF2-40B4-BE49-F238E27FC236}">
                <a16:creationId xmlns:a16="http://schemas.microsoft.com/office/drawing/2014/main" id="{08C0F121-A341-49AC-9DFC-2503A6742D0A}"/>
              </a:ext>
            </a:extLst>
          </p:cNvPr>
          <p:cNvPicPr>
            <a:picLocks noGrp="1" noChangeAspect="1"/>
          </p:cNvPicPr>
          <p:nvPr>
            <p:ph type="pic" sz="quarter" idx="19"/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05" b="26619"/>
          <a:stretch/>
        </p:blipFill>
        <p:spPr>
          <a:xfrm>
            <a:off x="334963" y="603580"/>
            <a:ext cx="11521279" cy="4620883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602130-D50B-4A89-936C-3F06ED0BBE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31A5BD-DC0C-45C2-A0C8-B9C689B421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40B106-59F7-46D3-A3F3-2BF462927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41E89C-AF8F-4C81-9AA9-88CCE5129F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E75E59E-7B7D-436A-A734-0DE1BC6946B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6906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1">
            <a:extLst>
              <a:ext uri="{FF2B5EF4-FFF2-40B4-BE49-F238E27FC236}">
                <a16:creationId xmlns:a16="http://schemas.microsoft.com/office/drawing/2014/main" id="{733B6B7A-6074-4D5E-BACF-9B6BCB52ED4D}"/>
              </a:ext>
            </a:extLst>
          </p:cNvPr>
          <p:cNvPicPr>
            <a:picLocks noGrp="1" noChangeAspect="1"/>
          </p:cNvPicPr>
          <p:nvPr>
            <p:ph type="pic" sz="quarter" idx="19"/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22" b="21086"/>
          <a:stretch/>
        </p:blipFill>
        <p:spPr>
          <a:xfrm>
            <a:off x="334963" y="603580"/>
            <a:ext cx="11521279" cy="4620883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959F1F-8B92-4F1C-BAA1-D0D9682E5D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B29816-8810-42CA-BC0E-7B65AA5C7F4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646165-504A-4BE3-BC63-C092812792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48A090-4B0B-4E30-BCE2-4B1333068F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7C4530-B487-434F-A954-EE708C481D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6406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17DFF5E-B579-4E6D-A5E8-5C571F81F1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9924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17DFF5E-B579-4E6D-A5E8-5C571F81F1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225732-BD97-48C9-A62F-81F4ECFADD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7CA95F-09AE-475B-B726-30D6E5527031}"/>
              </a:ext>
            </a:extLst>
          </p:cNvPr>
          <p:cNvSpPr>
            <a:spLocks noGrp="1"/>
          </p:cNvSpPr>
          <p:nvPr>
            <p:ph sz="quarter" idx="64"/>
          </p:nvPr>
        </p:nvSpPr>
        <p:spPr/>
        <p:txBody>
          <a:bodyPr/>
          <a:lstStyle/>
          <a:p>
            <a:pPr lvl="0"/>
            <a:r>
              <a:rPr lang="en-GB" dirty="0"/>
              <a:t>Agenda topic standard</a:t>
            </a:r>
          </a:p>
          <a:p>
            <a:pPr lvl="0"/>
            <a:r>
              <a:rPr lang="en-GB" dirty="0"/>
              <a:t>Agenda topic standard</a:t>
            </a:r>
          </a:p>
          <a:p>
            <a:pPr lvl="0"/>
            <a:r>
              <a:rPr lang="en-GB" dirty="0">
                <a:solidFill>
                  <a:schemeClr val="accent3"/>
                </a:solidFill>
              </a:rPr>
              <a:t>Highlighted agenda topic</a:t>
            </a:r>
          </a:p>
          <a:p>
            <a:pPr lvl="0"/>
            <a:r>
              <a:rPr lang="en-GB" dirty="0"/>
              <a:t>Agenda topic standard</a:t>
            </a:r>
          </a:p>
          <a:p>
            <a:endParaRPr lang="en-DK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8A93879-B213-4430-978E-099561016709}"/>
              </a:ext>
            </a:extLst>
          </p:cNvPr>
          <p:cNvSpPr>
            <a:spLocks noGrp="1"/>
          </p:cNvSpPr>
          <p:nvPr>
            <p:ph type="ftr" sz="quarter" idx="6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453B1EE-FEDC-48E9-A0AF-483836FE129A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4470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52CC02-7290-4D4E-9F0E-3E16ED09B5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6689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52CC02-7290-4D4E-9F0E-3E16ED09B5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B51DE46-2F8C-402D-A377-36ACB4A12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3B3FAE-5154-4609-A310-C522F0FAEB53}"/>
              </a:ext>
            </a:extLst>
          </p:cNvPr>
          <p:cNvSpPr>
            <a:spLocks noGrp="1"/>
          </p:cNvSpPr>
          <p:nvPr>
            <p:ph sz="quarter" idx="64"/>
          </p:nvPr>
        </p:nvSpPr>
        <p:spPr/>
        <p:txBody>
          <a:bodyPr/>
          <a:lstStyle/>
          <a:p>
            <a:pPr lvl="0"/>
            <a:r>
              <a:rPr lang="en-GB" dirty="0">
                <a:solidFill>
                  <a:srgbClr val="5F5F64"/>
                </a:solidFill>
              </a:rPr>
              <a:t>Agenda topic standard</a:t>
            </a:r>
          </a:p>
          <a:p>
            <a:pPr lvl="0"/>
            <a:r>
              <a:rPr lang="en-GB" dirty="0">
                <a:solidFill>
                  <a:srgbClr val="5F5F64"/>
                </a:solidFill>
              </a:rPr>
              <a:t>Agenda topic standard</a:t>
            </a:r>
          </a:p>
          <a:p>
            <a:pPr lvl="0"/>
            <a:r>
              <a:rPr lang="en-GB" dirty="0">
                <a:solidFill>
                  <a:srgbClr val="C8143C"/>
                </a:solidFill>
              </a:rPr>
              <a:t>Highlighted agenda topic</a:t>
            </a:r>
          </a:p>
          <a:p>
            <a:pPr lvl="0"/>
            <a:r>
              <a:rPr lang="en-GB" dirty="0">
                <a:solidFill>
                  <a:srgbClr val="5F5F64"/>
                </a:solidFill>
              </a:rPr>
              <a:t>Agenda topic standard</a:t>
            </a:r>
          </a:p>
          <a:p>
            <a:endParaRPr lang="en-DK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47289C-D005-4FF6-BB50-C4C0B9B55AD4}"/>
              </a:ext>
            </a:extLst>
          </p:cNvPr>
          <p:cNvSpPr>
            <a:spLocks noGrp="1"/>
          </p:cNvSpPr>
          <p:nvPr>
            <p:ph type="ftr" sz="quarter" idx="6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7E3D7E-4631-413F-9023-219326DE52CD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14719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7964722285930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7964722285930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Carlotta Fedi\AppData\Local\Temp\Templafy\PowerPointVsto\Assets\a594a304-7e41-46f6-a426-b233754bf891.jpeg"/>
  <p:tag name="TEMPLAFYSLIDEID" val="63729887665627493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Carlotta Fedi\AppData\Local\Temp\Templafy\PowerPointVsto\Assets\7fd9d99b-6b1c-4ae7-adae-b1fd27f37b19.jpeg"/>
  <p:tag name="TEMPLAFYSLIDEID" val="63729887665627494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7964722285930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7964722301518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Carlotta Fedi\AppData\Local\Temp\Templafy\PowerPointVsto\Assets\7593ee13-d672-43f3-a7b4-ffca72783bbb.jpeg"/>
  <p:tag name="TEMPLAFYSLIDEID" val="63729887665627497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7964722301518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7964722301518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7964722301518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7964722301518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7964722301518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7964722301518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79647223015188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7964722301518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7964722301519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7964722301519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7964722301519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7964722301519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7964722301519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ge7Y6G6POva13MxUom_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7964722301519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7964722301519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79647223015198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Carlotta Fedi\AppData\Local\Temp\Templafy\PowerPointVsto\Assets\MOVE+_TRIOS 4_transparent_CMYK (1).png"/>
  <p:tag name="TEMPLAFYSLIDEID" val="63729887665643112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67"/>
  <p:tag name="TEMPLAFYSLIDEID" val="63707964722301520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67"/>
  <p:tag name="TEMPLAFYSLIDEID" val="63707964722301520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7964722301520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7964722301520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RNg7muS8qnw08T4mI6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carlotta fedi\AppData\Local\Temp\Templafy\PowerPointVsto\Assets\8bbde6d1-66e1-43fe-ac84-4a01661bec60.jpeg"/>
  <p:tag name="TEMPLAFYSLIDEID" val="63707964722285930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a9cBcAIEHQmu97UC4l.Q"/>
  <p:tag name="TEMPLAFYSLIDEID" val="63707964722285930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79647222859303"/>
</p:tagLst>
</file>

<file path=ppt/theme/theme1.xml><?xml version="1.0" encoding="utf-8"?>
<a:theme xmlns:a="http://schemas.openxmlformats.org/drawingml/2006/main" name="3shape PowerPoint template 16:9">
  <a:themeElements>
    <a:clrScheme name="3Shape">
      <a:dk1>
        <a:srgbClr val="5F5F64"/>
      </a:dk1>
      <a:lt1>
        <a:srgbClr val="FFFFFF"/>
      </a:lt1>
      <a:dk2>
        <a:srgbClr val="254061"/>
      </a:dk2>
      <a:lt2>
        <a:srgbClr val="FFA500"/>
      </a:lt2>
      <a:accent1>
        <a:srgbClr val="C8143C"/>
      </a:accent1>
      <a:accent2>
        <a:srgbClr val="5F5F64"/>
      </a:accent2>
      <a:accent3>
        <a:srgbClr val="A5E1E6"/>
      </a:accent3>
      <a:accent4>
        <a:srgbClr val="98999B"/>
      </a:accent4>
      <a:accent5>
        <a:srgbClr val="DCDCD9"/>
      </a:accent5>
      <a:accent6>
        <a:srgbClr val="DE738B"/>
      </a:accent6>
      <a:hlink>
        <a:srgbClr val="B6163E"/>
      </a:hlink>
      <a:folHlink>
        <a:srgbClr val="A5E1E6"/>
      </a:folHlink>
    </a:clrScheme>
    <a:fontScheme name="3shape 1">
      <a:majorFont>
        <a:latin typeface="Karbon Light"/>
        <a:ea typeface=""/>
        <a:cs typeface=""/>
      </a:majorFont>
      <a:minorFont>
        <a:latin typeface="Karbo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dirty="0" err="1" smtClean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  <a:lumOff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  <a:latin typeface="+mj-lt"/>
          </a:defRPr>
        </a:defPPr>
      </a:lstStyle>
    </a:txDef>
  </a:objectDefaults>
  <a:extraClrSchemeLst/>
  <a:custClrLst>
    <a:custClr name="Red">
      <a:srgbClr val="C8143C"/>
    </a:custClr>
    <a:custClr name="Dark Gray">
      <a:srgbClr val="5F5F64"/>
    </a:custClr>
    <a:custClr name="Blue">
      <a:srgbClr val="A5E1E6"/>
    </a:custClr>
    <a:custClr name="Medium Gray">
      <a:srgbClr val="98999B"/>
    </a:custClr>
    <a:custClr name="Light Gray">
      <a:srgbClr val="DCDCD9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80%">
      <a:srgbClr val="D34363"/>
    </a:custClr>
    <a:custClr name="Dark Gray 80%">
      <a:srgbClr val="7F7F83"/>
    </a:custClr>
    <a:custClr name="Blue 80%">
      <a:srgbClr val="B7E7EB"/>
    </a:custClr>
    <a:custClr name="Medium Gray 80%">
      <a:srgbClr val="ADADAF"/>
    </a:custClr>
    <a:custClr name="Light Gray 80%">
      <a:srgbClr val="E3E3E1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60%">
      <a:srgbClr val="DE738B"/>
    </a:custClr>
    <a:custClr name="Dark Gray 60%">
      <a:srgbClr val="9F9FA2"/>
    </a:custClr>
    <a:custClr name="Blue 60%">
      <a:srgbClr val="C9EDF0"/>
    </a:custClr>
    <a:custClr name="Medium Gray 60%">
      <a:srgbClr val="C1C2C3"/>
    </a:custClr>
    <a:custClr name="Light Gray 60%">
      <a:srgbClr val="EAEAE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40%">
      <a:srgbClr val="E9A1B1"/>
    </a:custClr>
    <a:custClr name="Dark Gray 40%">
      <a:srgbClr val="BFBFC1"/>
    </a:custClr>
    <a:custClr name="Blue 40%">
      <a:srgbClr val="DBF3F5"/>
    </a:custClr>
    <a:custClr name="Medium Gray 40%">
      <a:srgbClr val="D6D6D7"/>
    </a:custClr>
    <a:custClr name="Light Gray 40%">
      <a:srgbClr val="F1F1F0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20%">
      <a:srgbClr val="F4D0D8"/>
    </a:custClr>
    <a:custClr name="Dark Gray 20%">
      <a:srgbClr val="DFDFE0"/>
    </a:custClr>
    <a:custClr name="Blue 20%">
      <a:srgbClr val="EDF9FA"/>
    </a:custClr>
    <a:custClr name="Medium Gray 20%">
      <a:srgbClr val="EAEBEB"/>
    </a:custClr>
    <a:custClr name="Light Gray 20%">
      <a:srgbClr val="F8F8F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Presentation1" id="{D4E0BD35-047F-4CB9-954B-175716CECE38}" vid="{C3D0B3E1-585E-4887-85E5-5C608FEF9816}"/>
    </a:ext>
  </a:extLst>
</a:theme>
</file>

<file path=ppt/theme/theme2.xml><?xml version="1.0" encoding="utf-8"?>
<a:theme xmlns:a="http://schemas.openxmlformats.org/drawingml/2006/main" name="Office Theme">
  <a:themeElements>
    <a:clrScheme name="3Shape">
      <a:dk1>
        <a:srgbClr val="5F5F64"/>
      </a:dk1>
      <a:lt1>
        <a:srgbClr val="FFFFFF"/>
      </a:lt1>
      <a:dk2>
        <a:srgbClr val="B6163E"/>
      </a:dk2>
      <a:lt2>
        <a:srgbClr val="5F5F64"/>
      </a:lt2>
      <a:accent1>
        <a:srgbClr val="B6163E"/>
      </a:accent1>
      <a:accent2>
        <a:srgbClr val="5F5F64"/>
      </a:accent2>
      <a:accent3>
        <a:srgbClr val="A5E1E6"/>
      </a:accent3>
      <a:accent4>
        <a:srgbClr val="98999B"/>
      </a:accent4>
      <a:accent5>
        <a:srgbClr val="DCDCD9"/>
      </a:accent5>
      <a:accent6>
        <a:srgbClr val="D3738B"/>
      </a:accent6>
      <a:hlink>
        <a:srgbClr val="B6163E"/>
      </a:hlink>
      <a:folHlink>
        <a:srgbClr val="A5E1E6"/>
      </a:folHlink>
    </a:clrScheme>
    <a:fontScheme name="3Shape_FI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Red">
      <a:srgbClr val="C8143C"/>
    </a:custClr>
    <a:custClr name="Dark Gray">
      <a:srgbClr val="5F5F64"/>
    </a:custClr>
    <a:custClr name="Blue">
      <a:srgbClr val="A5E1E6"/>
    </a:custClr>
    <a:custClr name="Medium Gray">
      <a:srgbClr val="98999B"/>
    </a:custClr>
    <a:custClr name="Light Gray">
      <a:srgbClr val="DCDCD9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80%">
      <a:srgbClr val="D34363"/>
    </a:custClr>
    <a:custClr name="Dark Gray 80%">
      <a:srgbClr val="7F7F83"/>
    </a:custClr>
    <a:custClr name="Blue 80%">
      <a:srgbClr val="B7E7EB"/>
    </a:custClr>
    <a:custClr name="Medium Gray 80%">
      <a:srgbClr val="ADADAF"/>
    </a:custClr>
    <a:custClr name="Light Gray 80%">
      <a:srgbClr val="E3E3E1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60%">
      <a:srgbClr val="DE738B"/>
    </a:custClr>
    <a:custClr name="Dark Gray 60%">
      <a:srgbClr val="9F9FA2"/>
    </a:custClr>
    <a:custClr name="Blue 60%">
      <a:srgbClr val="C9EDF0"/>
    </a:custClr>
    <a:custClr name="Medium Gray 60%">
      <a:srgbClr val="C1C2C3"/>
    </a:custClr>
    <a:custClr name="Light Gray 60%">
      <a:srgbClr val="EAEAE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40%">
      <a:srgbClr val="E9A1B1"/>
    </a:custClr>
    <a:custClr name="Dark Gray 40%">
      <a:srgbClr val="BFBFC1"/>
    </a:custClr>
    <a:custClr name="Blue 40%">
      <a:srgbClr val="DBF3F5"/>
    </a:custClr>
    <a:custClr name="Medium Gray 40%">
      <a:srgbClr val="D6D6D7"/>
    </a:custClr>
    <a:custClr name="Light Gray 40%">
      <a:srgbClr val="F1F1F0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20%">
      <a:srgbClr val="F4D0D8"/>
    </a:custClr>
    <a:custClr name="Dark Gray 20%">
      <a:srgbClr val="DFDFE0"/>
    </a:custClr>
    <a:custClr name="Blue 20%">
      <a:srgbClr val="EDF9FA"/>
    </a:custClr>
    <a:custClr name="Medium Gray 20%">
      <a:srgbClr val="EAEBEB"/>
    </a:custClr>
    <a:custClr name="Light Gray 20%">
      <a:srgbClr val="F8F8F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</a:theme>
</file>

<file path=ppt/theme/theme3.xml><?xml version="1.0" encoding="utf-8"?>
<a:theme xmlns:a="http://schemas.openxmlformats.org/drawingml/2006/main" name="Office-tema">
  <a:themeElements>
    <a:clrScheme name="3Shape">
      <a:dk1>
        <a:srgbClr val="5F5F64"/>
      </a:dk1>
      <a:lt1>
        <a:srgbClr val="FFFFFF"/>
      </a:lt1>
      <a:dk2>
        <a:srgbClr val="B6163E"/>
      </a:dk2>
      <a:lt2>
        <a:srgbClr val="5F5F64"/>
      </a:lt2>
      <a:accent1>
        <a:srgbClr val="B6163E"/>
      </a:accent1>
      <a:accent2>
        <a:srgbClr val="5F5F64"/>
      </a:accent2>
      <a:accent3>
        <a:srgbClr val="A5E1E6"/>
      </a:accent3>
      <a:accent4>
        <a:srgbClr val="98999B"/>
      </a:accent4>
      <a:accent5>
        <a:srgbClr val="DCDCD9"/>
      </a:accent5>
      <a:accent6>
        <a:srgbClr val="D3738B"/>
      </a:accent6>
      <a:hlink>
        <a:srgbClr val="B6163E"/>
      </a:hlink>
      <a:folHlink>
        <a:srgbClr val="A5E1E6"/>
      </a:folHlink>
    </a:clrScheme>
    <a:fontScheme name="Cod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Red">
      <a:srgbClr val="C8143C"/>
    </a:custClr>
    <a:custClr name="Dark Gray">
      <a:srgbClr val="5F5F64"/>
    </a:custClr>
    <a:custClr name="Blue">
      <a:srgbClr val="A5E1E6"/>
    </a:custClr>
    <a:custClr name="Medium Gray">
      <a:srgbClr val="98999B"/>
    </a:custClr>
    <a:custClr name="Light Gray">
      <a:srgbClr val="DCDCD9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80%">
      <a:srgbClr val="D34363"/>
    </a:custClr>
    <a:custClr name="Dark Gray 80%">
      <a:srgbClr val="7F7F83"/>
    </a:custClr>
    <a:custClr name="Blue 80%">
      <a:srgbClr val="B7E7EB"/>
    </a:custClr>
    <a:custClr name="Medium Gray 80%">
      <a:srgbClr val="ADADAF"/>
    </a:custClr>
    <a:custClr name="Light Gray 80%">
      <a:srgbClr val="E3E3E1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60%">
      <a:srgbClr val="DE738B"/>
    </a:custClr>
    <a:custClr name="Dark Gray 60%">
      <a:srgbClr val="9F9FA2"/>
    </a:custClr>
    <a:custClr name="Blue 60%">
      <a:srgbClr val="C9EDF0"/>
    </a:custClr>
    <a:custClr name="Medium Gray 60%">
      <a:srgbClr val="C1C2C3"/>
    </a:custClr>
    <a:custClr name="Light Gray 60%">
      <a:srgbClr val="EAEAE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40%">
      <a:srgbClr val="E9A1B1"/>
    </a:custClr>
    <a:custClr name="Dark Gray 40%">
      <a:srgbClr val="BFBFC1"/>
    </a:custClr>
    <a:custClr name="Blue 40%">
      <a:srgbClr val="DBF3F5"/>
    </a:custClr>
    <a:custClr name="Medium Gray 40%">
      <a:srgbClr val="D6D6D7"/>
    </a:custClr>
    <a:custClr name="Light Gray 40%">
      <a:srgbClr val="F1F1F0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20%">
      <a:srgbClr val="F4D0D8"/>
    </a:custClr>
    <a:custClr name="Dark Gray 20%">
      <a:srgbClr val="DFDFE0"/>
    </a:custClr>
    <a:custClr name="Blue 20%">
      <a:srgbClr val="EDF9FA"/>
    </a:custClr>
    <a:custClr name="Medium Gray 20%">
      <a:srgbClr val="EAEBEB"/>
    </a:custClr>
    <a:custClr name="Light Gray 20%">
      <a:srgbClr val="F8F8F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3Shape PowerPoint Template</Template>
  <TotalTime>0</TotalTime>
  <Words>428</Words>
  <Application>Microsoft Office PowerPoint</Application>
  <PresentationFormat>Widescreen</PresentationFormat>
  <Paragraphs>83</Paragraphs>
  <Slides>31</Slides>
  <Notes>2</Notes>
  <HiddenSlides>4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1</vt:i4>
      </vt:variant>
    </vt:vector>
  </HeadingPairs>
  <TitlesOfParts>
    <vt:vector size="38" baseType="lpstr">
      <vt:lpstr>Karbon Light</vt:lpstr>
      <vt:lpstr>Arial</vt:lpstr>
      <vt:lpstr>Karbon Medium</vt:lpstr>
      <vt:lpstr>Karbon</vt:lpstr>
      <vt:lpstr>3shape PowerPoint template 16:9</vt:lpstr>
      <vt:lpstr>think-cell Slide</vt:lpstr>
      <vt:lpstr>Chart</vt:lpstr>
      <vt:lpstr>PowerPoint Presentation</vt:lpstr>
      <vt:lpstr>Brand Elements –The Triangl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genda</vt:lpstr>
      <vt:lpstr>Ag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et’s change dentistry togeth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10-29T16:38:40Z</dcterms:created>
  <dcterms:modified xsi:type="dcterms:W3CDTF">2021-10-04T09:50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:">
    <vt:lpwstr>www.skabelondesign.dk</vt:lpwstr>
  </property>
  <property fmtid="{D5CDD505-2E9C-101B-9397-08002B2CF9AE}" pid="3" name="CustomerId">
    <vt:lpwstr>3shape</vt:lpwstr>
  </property>
  <property fmtid="{D5CDD505-2E9C-101B-9397-08002B2CF9AE}" pid="4" name="TemplateId">
    <vt:lpwstr>637079647206072498</vt:lpwstr>
  </property>
  <property fmtid="{D5CDD505-2E9C-101B-9397-08002B2CF9AE}" pid="5" name="UserProfileId">
    <vt:lpwstr>637563751819860500</vt:lpwstr>
  </property>
</Properties>
</file>